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authors.xml" ContentType="application/vnd.ms-powerpoint.author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21" r:id="rId4"/>
    <p:sldMasterId id="2147484001" r:id="rId5"/>
    <p:sldMasterId id="2147484010" r:id="rId6"/>
    <p:sldMasterId id="2147484019" r:id="rId7"/>
    <p:sldMasterId id="2147484028" r:id="rId8"/>
    <p:sldMasterId id="2147484037" r:id="rId9"/>
    <p:sldMasterId id="2147484046" r:id="rId10"/>
    <p:sldMasterId id="2147484055" r:id="rId11"/>
    <p:sldMasterId id="2147484064" r:id="rId12"/>
  </p:sldMasterIdLst>
  <p:notesMasterIdLst>
    <p:notesMasterId r:id="rId19"/>
  </p:notesMasterIdLst>
  <p:handoutMasterIdLst>
    <p:handoutMasterId r:id="rId20"/>
  </p:handoutMasterIdLst>
  <p:sldIdLst>
    <p:sldId id="2892" r:id="rId13"/>
    <p:sldId id="2891" r:id="rId14"/>
    <p:sldId id="2893" r:id="rId15"/>
    <p:sldId id="2894" r:id="rId16"/>
    <p:sldId id="2896" r:id="rId17"/>
    <p:sldId id="2895"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CA77A84-3BB7-5265-DDCC-7282212D4F97}" name="Ali gardezi" initials="Ag" userId="be767e143753057f"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F6DC"/>
    <a:srgbClr val="000000"/>
    <a:srgbClr val="EBF1FF"/>
    <a:srgbClr val="F3D26A"/>
    <a:srgbClr val="F7F7F7"/>
    <a:srgbClr val="E6E6E6"/>
    <a:srgbClr val="E1EAFF"/>
    <a:srgbClr val="D3EFCE"/>
    <a:srgbClr val="EBF6DE"/>
    <a:srgbClr val="FFEA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031B4F-7A08-47B6-9BBE-3BE595172CA2}" v="170" dt="2023-02-16T02:19:42.483"/>
    <p1510:client id="{41F0A500-E4ED-4805-8D84-F6050E0C1B79}" v="10" dt="2023-02-16T03:54:33.78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795" autoAdjust="0"/>
    <p:restoredTop sz="93447" autoAdjust="0"/>
  </p:normalViewPr>
  <p:slideViewPr>
    <p:cSldViewPr snapToGrid="0">
      <p:cViewPr>
        <p:scale>
          <a:sx n="66" d="100"/>
          <a:sy n="66" d="100"/>
        </p:scale>
        <p:origin x="570" y="48"/>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60" d="100"/>
        <a:sy n="60" d="100"/>
      </p:scale>
      <p:origin x="0" y="-744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tableStyles" Target="tableStyles.xml"/><Relationship Id="rId72"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theme" Target="theme/theme1.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handoutMaster" Target="handoutMasters/handoutMaster1.xml"/><Relationship Id="rId7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265DD8CF-CBC9-48CF-B1AA-4E5F5FE7B8CC}"/>
    <pc:docChg chg="custSel modSld">
      <pc:chgData name="Aurelien Domont" userId="6da7715ce44349b3" providerId="LiveId" clId="{265DD8CF-CBC9-48CF-B1AA-4E5F5FE7B8CC}" dt="2023-02-13T02:42:57.748" v="19" actId="790"/>
      <pc:docMkLst>
        <pc:docMk/>
      </pc:docMkLst>
      <pc:sldChg chg="addSp delSp modSp mod">
        <pc:chgData name="Aurelien Domont" userId="6da7715ce44349b3" providerId="LiveId" clId="{265DD8CF-CBC9-48CF-B1AA-4E5F5FE7B8CC}" dt="2023-02-13T02:40:52.068" v="7" actId="478"/>
        <pc:sldMkLst>
          <pc:docMk/>
          <pc:sldMk cId="2071212216" sldId="2404"/>
        </pc:sldMkLst>
        <pc:spChg chg="add del mod">
          <ac:chgData name="Aurelien Domont" userId="6da7715ce44349b3" providerId="LiveId" clId="{265DD8CF-CBC9-48CF-B1AA-4E5F5FE7B8CC}" dt="2023-02-13T02:40:52.068" v="7" actId="478"/>
          <ac:spMkLst>
            <pc:docMk/>
            <pc:sldMk cId="2071212216" sldId="2404"/>
            <ac:spMk id="2" creationId="{B1518EBA-DF50-945F-E67D-013A3C7F9497}"/>
          </ac:spMkLst>
        </pc:spChg>
      </pc:sldChg>
      <pc:sldChg chg="modSp mod">
        <pc:chgData name="Aurelien Domont" userId="6da7715ce44349b3" providerId="LiveId" clId="{265DD8CF-CBC9-48CF-B1AA-4E5F5FE7B8CC}" dt="2023-02-13T02:41:18.200" v="8" actId="790"/>
        <pc:sldMkLst>
          <pc:docMk/>
          <pc:sldMk cId="3710951792" sldId="2534"/>
        </pc:sldMkLst>
        <pc:spChg chg="mod">
          <ac:chgData name="Aurelien Domont" userId="6da7715ce44349b3" providerId="LiveId" clId="{265DD8CF-CBC9-48CF-B1AA-4E5F5FE7B8CC}" dt="2023-02-13T02:41:18.200" v="8" actId="790"/>
          <ac:spMkLst>
            <pc:docMk/>
            <pc:sldMk cId="3710951792" sldId="2534"/>
            <ac:spMk id="9" creationId="{264AD83F-2678-C45A-8A97-0D84D5BCC0DF}"/>
          </ac:spMkLst>
        </pc:spChg>
      </pc:sldChg>
      <pc:sldChg chg="modSp mod">
        <pc:chgData name="Aurelien Domont" userId="6da7715ce44349b3" providerId="LiveId" clId="{265DD8CF-CBC9-48CF-B1AA-4E5F5FE7B8CC}" dt="2023-02-13T02:41:40.845" v="10" actId="2"/>
        <pc:sldMkLst>
          <pc:docMk/>
          <pc:sldMk cId="3015757233" sldId="2552"/>
        </pc:sldMkLst>
        <pc:spChg chg="mod">
          <ac:chgData name="Aurelien Domont" userId="6da7715ce44349b3" providerId="LiveId" clId="{265DD8CF-CBC9-48CF-B1AA-4E5F5FE7B8CC}" dt="2023-02-13T02:41:40.845" v="10" actId="2"/>
          <ac:spMkLst>
            <pc:docMk/>
            <pc:sldMk cId="3015757233" sldId="2552"/>
            <ac:spMk id="23" creationId="{65424981-8A44-56D5-7A28-1026C49EB10F}"/>
          </ac:spMkLst>
        </pc:spChg>
      </pc:sldChg>
      <pc:sldChg chg="modSp mod">
        <pc:chgData name="Aurelien Domont" userId="6da7715ce44349b3" providerId="LiveId" clId="{265DD8CF-CBC9-48CF-B1AA-4E5F5FE7B8CC}" dt="2023-02-13T02:41:48.230" v="12" actId="2"/>
        <pc:sldMkLst>
          <pc:docMk/>
          <pc:sldMk cId="2531193052" sldId="2586"/>
        </pc:sldMkLst>
        <pc:spChg chg="mod">
          <ac:chgData name="Aurelien Domont" userId="6da7715ce44349b3" providerId="LiveId" clId="{265DD8CF-CBC9-48CF-B1AA-4E5F5FE7B8CC}" dt="2023-02-13T02:41:48.230" v="12" actId="2"/>
          <ac:spMkLst>
            <pc:docMk/>
            <pc:sldMk cId="2531193052" sldId="2586"/>
            <ac:spMk id="5" creationId="{43E6F226-9105-109F-905F-1BAB4D3E5A6E}"/>
          </ac:spMkLst>
        </pc:spChg>
      </pc:sldChg>
      <pc:sldChg chg="modSp mod">
        <pc:chgData name="Aurelien Domont" userId="6da7715ce44349b3" providerId="LiveId" clId="{265DD8CF-CBC9-48CF-B1AA-4E5F5FE7B8CC}" dt="2023-02-13T02:41:55.436" v="13" actId="790"/>
        <pc:sldMkLst>
          <pc:docMk/>
          <pc:sldMk cId="1870678215" sldId="2589"/>
        </pc:sldMkLst>
        <pc:spChg chg="mod">
          <ac:chgData name="Aurelien Domont" userId="6da7715ce44349b3" providerId="LiveId" clId="{265DD8CF-CBC9-48CF-B1AA-4E5F5FE7B8CC}" dt="2023-02-13T02:41:55.436" v="13" actId="790"/>
          <ac:spMkLst>
            <pc:docMk/>
            <pc:sldMk cId="1870678215" sldId="2589"/>
            <ac:spMk id="16" creationId="{6C2BB713-9637-4B9B-938F-E9768876782A}"/>
          </ac:spMkLst>
        </pc:spChg>
      </pc:sldChg>
      <pc:sldChg chg="modSp mod">
        <pc:chgData name="Aurelien Domont" userId="6da7715ce44349b3" providerId="LiveId" clId="{265DD8CF-CBC9-48CF-B1AA-4E5F5FE7B8CC}" dt="2023-02-13T02:42:04.462" v="14" actId="313"/>
        <pc:sldMkLst>
          <pc:docMk/>
          <pc:sldMk cId="3987364234" sldId="2590"/>
        </pc:sldMkLst>
        <pc:spChg chg="mod">
          <ac:chgData name="Aurelien Domont" userId="6da7715ce44349b3" providerId="LiveId" clId="{265DD8CF-CBC9-48CF-B1AA-4E5F5FE7B8CC}" dt="2023-02-13T02:42:04.462" v="14" actId="313"/>
          <ac:spMkLst>
            <pc:docMk/>
            <pc:sldMk cId="3987364234" sldId="2590"/>
            <ac:spMk id="31" creationId="{54B27846-4CC2-CAB0-9435-56E1928738B0}"/>
          </ac:spMkLst>
        </pc:spChg>
      </pc:sldChg>
      <pc:sldChg chg="modSp mod">
        <pc:chgData name="Aurelien Domont" userId="6da7715ce44349b3" providerId="LiveId" clId="{265DD8CF-CBC9-48CF-B1AA-4E5F5FE7B8CC}" dt="2023-02-13T02:42:11.334" v="15" actId="313"/>
        <pc:sldMkLst>
          <pc:docMk/>
          <pc:sldMk cId="1134372063" sldId="2595"/>
        </pc:sldMkLst>
        <pc:spChg chg="mod">
          <ac:chgData name="Aurelien Domont" userId="6da7715ce44349b3" providerId="LiveId" clId="{265DD8CF-CBC9-48CF-B1AA-4E5F5FE7B8CC}" dt="2023-02-13T02:42:11.334" v="15" actId="313"/>
          <ac:spMkLst>
            <pc:docMk/>
            <pc:sldMk cId="1134372063" sldId="2595"/>
            <ac:spMk id="54" creationId="{AD8DB4BF-55C7-908F-1A25-A98F32D01489}"/>
          </ac:spMkLst>
        </pc:spChg>
      </pc:sldChg>
      <pc:sldChg chg="modSp mod">
        <pc:chgData name="Aurelien Domont" userId="6da7715ce44349b3" providerId="LiveId" clId="{265DD8CF-CBC9-48CF-B1AA-4E5F5FE7B8CC}" dt="2023-02-13T02:42:45.479" v="18" actId="790"/>
        <pc:sldMkLst>
          <pc:docMk/>
          <pc:sldMk cId="557752984" sldId="2629"/>
        </pc:sldMkLst>
        <pc:spChg chg="mod">
          <ac:chgData name="Aurelien Domont" userId="6da7715ce44349b3" providerId="LiveId" clId="{265DD8CF-CBC9-48CF-B1AA-4E5F5FE7B8CC}" dt="2023-02-13T02:42:45.479" v="18" actId="790"/>
          <ac:spMkLst>
            <pc:docMk/>
            <pc:sldMk cId="557752984" sldId="2629"/>
            <ac:spMk id="4" creationId="{471FDD12-2524-D2C4-61FC-BBD6D7EE5522}"/>
          </ac:spMkLst>
        </pc:spChg>
      </pc:sldChg>
      <pc:sldChg chg="modSp mod">
        <pc:chgData name="Aurelien Domont" userId="6da7715ce44349b3" providerId="LiveId" clId="{265DD8CF-CBC9-48CF-B1AA-4E5F5FE7B8CC}" dt="2023-02-13T02:41:31.657" v="9" actId="313"/>
        <pc:sldMkLst>
          <pc:docMk/>
          <pc:sldMk cId="2834671872" sldId="2699"/>
        </pc:sldMkLst>
        <pc:spChg chg="mod">
          <ac:chgData name="Aurelien Domont" userId="6da7715ce44349b3" providerId="LiveId" clId="{265DD8CF-CBC9-48CF-B1AA-4E5F5FE7B8CC}" dt="2023-02-13T02:41:31.657" v="9" actId="313"/>
          <ac:spMkLst>
            <pc:docMk/>
            <pc:sldMk cId="2834671872" sldId="2699"/>
            <ac:spMk id="6" creationId="{925DDD0A-01CE-7FB4-14EA-5618B9C4E995}"/>
          </ac:spMkLst>
        </pc:spChg>
      </pc:sldChg>
      <pc:sldChg chg="modSp mod">
        <pc:chgData name="Aurelien Domont" userId="6da7715ce44349b3" providerId="LiveId" clId="{265DD8CF-CBC9-48CF-B1AA-4E5F5FE7B8CC}" dt="2023-02-13T02:41:45.184" v="11" actId="2"/>
        <pc:sldMkLst>
          <pc:docMk/>
          <pc:sldMk cId="2628821654" sldId="2736"/>
        </pc:sldMkLst>
        <pc:spChg chg="mod">
          <ac:chgData name="Aurelien Domont" userId="6da7715ce44349b3" providerId="LiveId" clId="{265DD8CF-CBC9-48CF-B1AA-4E5F5FE7B8CC}" dt="2023-02-13T02:41:45.184" v="11" actId="2"/>
          <ac:spMkLst>
            <pc:docMk/>
            <pc:sldMk cId="2628821654" sldId="2736"/>
            <ac:spMk id="16" creationId="{6C2BB713-9637-4B9B-938F-E9768876782A}"/>
          </ac:spMkLst>
        </pc:spChg>
      </pc:sldChg>
      <pc:sldChg chg="modSp mod">
        <pc:chgData name="Aurelien Domont" userId="6da7715ce44349b3" providerId="LiveId" clId="{265DD8CF-CBC9-48CF-B1AA-4E5F5FE7B8CC}" dt="2023-02-13T02:42:19.502" v="16" actId="313"/>
        <pc:sldMkLst>
          <pc:docMk/>
          <pc:sldMk cId="3901388038" sldId="2742"/>
        </pc:sldMkLst>
        <pc:spChg chg="mod">
          <ac:chgData name="Aurelien Domont" userId="6da7715ce44349b3" providerId="LiveId" clId="{265DD8CF-CBC9-48CF-B1AA-4E5F5FE7B8CC}" dt="2023-02-13T02:42:19.502" v="16" actId="313"/>
          <ac:spMkLst>
            <pc:docMk/>
            <pc:sldMk cId="3901388038" sldId="2742"/>
            <ac:spMk id="4" creationId="{4E82E8B9-5089-9771-942B-0F797F4A3FA2}"/>
          </ac:spMkLst>
        </pc:spChg>
      </pc:sldChg>
      <pc:sldChg chg="modSp mod">
        <pc:chgData name="Aurelien Domont" userId="6da7715ce44349b3" providerId="LiveId" clId="{265DD8CF-CBC9-48CF-B1AA-4E5F5FE7B8CC}" dt="2023-02-13T02:42:23.002" v="17" actId="2"/>
        <pc:sldMkLst>
          <pc:docMk/>
          <pc:sldMk cId="1553889362" sldId="2746"/>
        </pc:sldMkLst>
        <pc:spChg chg="mod">
          <ac:chgData name="Aurelien Domont" userId="6da7715ce44349b3" providerId="LiveId" clId="{265DD8CF-CBC9-48CF-B1AA-4E5F5FE7B8CC}" dt="2023-02-13T02:42:23.002" v="17" actId="2"/>
          <ac:spMkLst>
            <pc:docMk/>
            <pc:sldMk cId="1553889362" sldId="2746"/>
            <ac:spMk id="5" creationId="{DC638C48-5F22-B95E-1931-D4A19D0E8A67}"/>
          </ac:spMkLst>
        </pc:spChg>
      </pc:sldChg>
      <pc:sldChg chg="modSp mod">
        <pc:chgData name="Aurelien Domont" userId="6da7715ce44349b3" providerId="LiveId" clId="{265DD8CF-CBC9-48CF-B1AA-4E5F5FE7B8CC}" dt="2023-02-13T02:42:57.748" v="19" actId="790"/>
        <pc:sldMkLst>
          <pc:docMk/>
          <pc:sldMk cId="2106791307" sldId="2785"/>
        </pc:sldMkLst>
        <pc:spChg chg="mod">
          <ac:chgData name="Aurelien Domont" userId="6da7715ce44349b3" providerId="LiveId" clId="{265DD8CF-CBC9-48CF-B1AA-4E5F5FE7B8CC}" dt="2023-02-13T02:42:57.748" v="19" actId="790"/>
          <ac:spMkLst>
            <pc:docMk/>
            <pc:sldMk cId="2106791307" sldId="2785"/>
            <ac:spMk id="4" creationId="{471FDD12-2524-D2C4-61FC-BBD6D7EE5522}"/>
          </ac:spMkLst>
        </pc:spChg>
      </pc:sldChg>
    </pc:docChg>
  </pc:docChgLst>
  <pc:docChgLst>
    <pc:chgData name="Aurelien Domont" userId="6da7715ce44349b3" providerId="LiveId" clId="{1F031B4F-7A08-47B6-9BBE-3BE595172CA2}"/>
    <pc:docChg chg="undo custSel addSld delSld modSld sldOrd">
      <pc:chgData name="Aurelien Domont" userId="6da7715ce44349b3" providerId="LiveId" clId="{1F031B4F-7A08-47B6-9BBE-3BE595172CA2}" dt="2023-02-16T02:23:01.068" v="3127" actId="113"/>
      <pc:docMkLst>
        <pc:docMk/>
      </pc:docMkLst>
      <pc:sldChg chg="add">
        <pc:chgData name="Aurelien Domont" userId="6da7715ce44349b3" providerId="LiveId" clId="{1F031B4F-7A08-47B6-9BBE-3BE595172CA2}" dt="2023-02-16T00:16:52.373" v="1764"/>
        <pc:sldMkLst>
          <pc:docMk/>
          <pc:sldMk cId="2853806433" sldId="1600"/>
        </pc:sldMkLst>
      </pc:sldChg>
      <pc:sldChg chg="modSp mod">
        <pc:chgData name="Aurelien Domont" userId="6da7715ce44349b3" providerId="LiveId" clId="{1F031B4F-7A08-47B6-9BBE-3BE595172CA2}" dt="2023-02-14T07:12:39.234" v="565" actId="20577"/>
        <pc:sldMkLst>
          <pc:docMk/>
          <pc:sldMk cId="1253290912" sldId="1747"/>
        </pc:sldMkLst>
        <pc:spChg chg="mod">
          <ac:chgData name="Aurelien Domont" userId="6da7715ce44349b3" providerId="LiveId" clId="{1F031B4F-7A08-47B6-9BBE-3BE595172CA2}" dt="2023-02-14T07:12:39.234" v="565" actId="20577"/>
          <ac:spMkLst>
            <pc:docMk/>
            <pc:sldMk cId="1253290912" sldId="1747"/>
            <ac:spMk id="6" creationId="{A1742A61-D9E3-7593-F8BC-49557DAD0C5C}"/>
          </ac:spMkLst>
        </pc:spChg>
      </pc:sldChg>
      <pc:sldChg chg="addSp delSp modSp mod">
        <pc:chgData name="Aurelien Domont" userId="6da7715ce44349b3" providerId="LiveId" clId="{1F031B4F-7A08-47B6-9BBE-3BE595172CA2}" dt="2023-02-15T03:30:07.603" v="856" actId="478"/>
        <pc:sldMkLst>
          <pc:docMk/>
          <pc:sldMk cId="3855801452" sldId="1787"/>
        </pc:sldMkLst>
        <pc:spChg chg="add del mod">
          <ac:chgData name="Aurelien Domont" userId="6da7715ce44349b3" providerId="LiveId" clId="{1F031B4F-7A08-47B6-9BBE-3BE595172CA2}" dt="2023-02-15T03:30:07.603" v="856" actId="478"/>
          <ac:spMkLst>
            <pc:docMk/>
            <pc:sldMk cId="3855801452" sldId="1787"/>
            <ac:spMk id="2" creationId="{1A5B2B8F-ECBD-BCCB-D7C5-30A6F3F6FCBC}"/>
          </ac:spMkLst>
        </pc:spChg>
      </pc:sldChg>
      <pc:sldChg chg="modSp mod">
        <pc:chgData name="Aurelien Domont" userId="6da7715ce44349b3" providerId="LiveId" clId="{1F031B4F-7A08-47B6-9BBE-3BE595172CA2}" dt="2023-02-14T05:30:47.004" v="372" actId="20577"/>
        <pc:sldMkLst>
          <pc:docMk/>
          <pc:sldMk cId="471658671" sldId="1930"/>
        </pc:sldMkLst>
        <pc:spChg chg="mod">
          <ac:chgData name="Aurelien Domont" userId="6da7715ce44349b3" providerId="LiveId" clId="{1F031B4F-7A08-47B6-9BBE-3BE595172CA2}" dt="2023-02-14T05:30:47.004" v="372" actId="20577"/>
          <ac:spMkLst>
            <pc:docMk/>
            <pc:sldMk cId="471658671" sldId="1930"/>
            <ac:spMk id="16" creationId="{6C2BB713-9637-4B9B-938F-E9768876782A}"/>
          </ac:spMkLst>
        </pc:spChg>
      </pc:sldChg>
      <pc:sldChg chg="addSp modSp">
        <pc:chgData name="Aurelien Domont" userId="6da7715ce44349b3" providerId="LiveId" clId="{1F031B4F-7A08-47B6-9BBE-3BE595172CA2}" dt="2023-02-15T23:58:52.315" v="1535"/>
        <pc:sldMkLst>
          <pc:docMk/>
          <pc:sldMk cId="1324642353" sldId="2152"/>
        </pc:sldMkLst>
        <pc:spChg chg="add mod">
          <ac:chgData name="Aurelien Domont" userId="6da7715ce44349b3" providerId="LiveId" clId="{1F031B4F-7A08-47B6-9BBE-3BE595172CA2}" dt="2023-02-15T23:58:52.315" v="1535"/>
          <ac:spMkLst>
            <pc:docMk/>
            <pc:sldMk cId="1324642353" sldId="2152"/>
            <ac:spMk id="2" creationId="{0898C608-E992-39DA-2BE9-ABDC62E273E4}"/>
          </ac:spMkLst>
        </pc:spChg>
      </pc:sldChg>
      <pc:sldChg chg="addSp modSp">
        <pc:chgData name="Aurelien Domont" userId="6da7715ce44349b3" providerId="LiveId" clId="{1F031B4F-7A08-47B6-9BBE-3BE595172CA2}" dt="2023-02-15T23:58:54.113" v="1536"/>
        <pc:sldMkLst>
          <pc:docMk/>
          <pc:sldMk cId="2226532108" sldId="2153"/>
        </pc:sldMkLst>
        <pc:spChg chg="add mod">
          <ac:chgData name="Aurelien Domont" userId="6da7715ce44349b3" providerId="LiveId" clId="{1F031B4F-7A08-47B6-9BBE-3BE595172CA2}" dt="2023-02-15T23:58:54.113" v="1536"/>
          <ac:spMkLst>
            <pc:docMk/>
            <pc:sldMk cId="2226532108" sldId="2153"/>
            <ac:spMk id="2" creationId="{A703C8B1-02FC-389E-319C-B55F884B15EB}"/>
          </ac:spMkLst>
        </pc:spChg>
      </pc:sldChg>
      <pc:sldChg chg="modSp add mod">
        <pc:chgData name="Aurelien Domont" userId="6da7715ce44349b3" providerId="LiveId" clId="{1F031B4F-7A08-47B6-9BBE-3BE595172CA2}" dt="2023-02-16T02:21:16.886" v="3099" actId="20577"/>
        <pc:sldMkLst>
          <pc:docMk/>
          <pc:sldMk cId="1203735008" sldId="2233"/>
        </pc:sldMkLst>
        <pc:spChg chg="mod">
          <ac:chgData name="Aurelien Domont" userId="6da7715ce44349b3" providerId="LiveId" clId="{1F031B4F-7A08-47B6-9BBE-3BE595172CA2}" dt="2023-02-16T02:21:16.886" v="3099" actId="20577"/>
          <ac:spMkLst>
            <pc:docMk/>
            <pc:sldMk cId="1203735008" sldId="2233"/>
            <ac:spMk id="16" creationId="{6C2BB713-9637-4B9B-938F-E9768876782A}"/>
          </ac:spMkLst>
        </pc:spChg>
        <pc:spChg chg="mod">
          <ac:chgData name="Aurelien Domont" userId="6da7715ce44349b3" providerId="LiveId" clId="{1F031B4F-7A08-47B6-9BBE-3BE595172CA2}" dt="2023-02-16T02:19:50.301" v="3061" actId="20577"/>
          <ac:spMkLst>
            <pc:docMk/>
            <pc:sldMk cId="1203735008" sldId="2233"/>
            <ac:spMk id="21" creationId="{66F0DAB8-53E8-17C9-4DD0-E8AF7C2E52E1}"/>
          </ac:spMkLst>
        </pc:spChg>
      </pc:sldChg>
      <pc:sldChg chg="addSp delSp modSp add mod">
        <pc:chgData name="Aurelien Domont" userId="6da7715ce44349b3" providerId="LiveId" clId="{1F031B4F-7A08-47B6-9BBE-3BE595172CA2}" dt="2023-02-16T02:22:45.003" v="3126" actId="1037"/>
        <pc:sldMkLst>
          <pc:docMk/>
          <pc:sldMk cId="2995647837" sldId="2340"/>
        </pc:sldMkLst>
        <pc:spChg chg="mod">
          <ac:chgData name="Aurelien Domont" userId="6da7715ce44349b3" providerId="LiveId" clId="{1F031B4F-7A08-47B6-9BBE-3BE595172CA2}" dt="2023-02-16T02:16:20.766" v="3035" actId="255"/>
          <ac:spMkLst>
            <pc:docMk/>
            <pc:sldMk cId="2995647837" sldId="2340"/>
            <ac:spMk id="3" creationId="{CE2529A3-BA97-486F-9E02-8DFAAA7D8D38}"/>
          </ac:spMkLst>
        </pc:spChg>
        <pc:spChg chg="add mod ord">
          <ac:chgData name="Aurelien Domont" userId="6da7715ce44349b3" providerId="LiveId" clId="{1F031B4F-7A08-47B6-9BBE-3BE595172CA2}" dt="2023-02-16T02:17:03.851" v="3044" actId="20577"/>
          <ac:spMkLst>
            <pc:docMk/>
            <pc:sldMk cId="2995647837" sldId="2340"/>
            <ac:spMk id="5" creationId="{3652B0D0-4619-CA01-7265-EF295462D0AB}"/>
          </ac:spMkLst>
        </pc:spChg>
        <pc:spChg chg="mod">
          <ac:chgData name="Aurelien Domont" userId="6da7715ce44349b3" providerId="LiveId" clId="{1F031B4F-7A08-47B6-9BBE-3BE595172CA2}" dt="2023-02-16T02:16:39.653" v="3043" actId="1036"/>
          <ac:spMkLst>
            <pc:docMk/>
            <pc:sldMk cId="2995647837" sldId="2340"/>
            <ac:spMk id="8" creationId="{4165C724-0F42-4853-AC91-842B9A95FB6C}"/>
          </ac:spMkLst>
        </pc:spChg>
        <pc:spChg chg="mod">
          <ac:chgData name="Aurelien Domont" userId="6da7715ce44349b3" providerId="LiveId" clId="{1F031B4F-7A08-47B6-9BBE-3BE595172CA2}" dt="2023-02-16T02:16:20.766" v="3035" actId="255"/>
          <ac:spMkLst>
            <pc:docMk/>
            <pc:sldMk cId="2995647837" sldId="2340"/>
            <ac:spMk id="16" creationId="{6C2BB713-9637-4B9B-938F-E9768876782A}"/>
          </ac:spMkLst>
        </pc:spChg>
        <pc:spChg chg="del mod">
          <ac:chgData name="Aurelien Domont" userId="6da7715ce44349b3" providerId="LiveId" clId="{1F031B4F-7A08-47B6-9BBE-3BE595172CA2}" dt="2023-02-16T02:16:01.898" v="3030" actId="478"/>
          <ac:spMkLst>
            <pc:docMk/>
            <pc:sldMk cId="2995647837" sldId="2340"/>
            <ac:spMk id="29" creationId="{8221B270-36B6-4108-B973-F2BFC4E4817D}"/>
          </ac:spMkLst>
        </pc:spChg>
        <pc:picChg chg="mod">
          <ac:chgData name="Aurelien Domont" userId="6da7715ce44349b3" providerId="LiveId" clId="{1F031B4F-7A08-47B6-9BBE-3BE595172CA2}" dt="2023-02-16T02:22:45.003" v="3126" actId="1037"/>
          <ac:picMkLst>
            <pc:docMk/>
            <pc:sldMk cId="2995647837" sldId="2340"/>
            <ac:picMk id="2" creationId="{226A1D50-9B4B-4CE7-A44A-3B681A2E6B95}"/>
          </ac:picMkLst>
        </pc:picChg>
        <pc:picChg chg="mod">
          <ac:chgData name="Aurelien Domont" userId="6da7715ce44349b3" providerId="LiveId" clId="{1F031B4F-7A08-47B6-9BBE-3BE595172CA2}" dt="2023-02-16T02:16:39.653" v="3043" actId="1036"/>
          <ac:picMkLst>
            <pc:docMk/>
            <pc:sldMk cId="2995647837" sldId="2340"/>
            <ac:picMk id="14" creationId="{5B754426-5C61-43CB-B563-7615286D2001}"/>
          </ac:picMkLst>
        </pc:picChg>
      </pc:sldChg>
      <pc:sldChg chg="delSp mod">
        <pc:chgData name="Aurelien Domont" userId="6da7715ce44349b3" providerId="LiveId" clId="{1F031B4F-7A08-47B6-9BBE-3BE595172CA2}" dt="2023-02-14T07:32:57.092" v="619" actId="478"/>
        <pc:sldMkLst>
          <pc:docMk/>
          <pc:sldMk cId="2873323927" sldId="2416"/>
        </pc:sldMkLst>
        <pc:spChg chg="del">
          <ac:chgData name="Aurelien Domont" userId="6da7715ce44349b3" providerId="LiveId" clId="{1F031B4F-7A08-47B6-9BBE-3BE595172CA2}" dt="2023-02-14T07:32:57.092" v="619" actId="478"/>
          <ac:spMkLst>
            <pc:docMk/>
            <pc:sldMk cId="2873323927" sldId="2416"/>
            <ac:spMk id="8" creationId="{A59D9EB3-E9B5-436C-B84C-64290C638E46}"/>
          </ac:spMkLst>
        </pc:spChg>
      </pc:sldChg>
      <pc:sldChg chg="delSp mod">
        <pc:chgData name="Aurelien Domont" userId="6da7715ce44349b3" providerId="LiveId" clId="{1F031B4F-7A08-47B6-9BBE-3BE595172CA2}" dt="2023-02-14T07:34:35.440" v="623" actId="478"/>
        <pc:sldMkLst>
          <pc:docMk/>
          <pc:sldMk cId="4013513185" sldId="2424"/>
        </pc:sldMkLst>
        <pc:spChg chg="del">
          <ac:chgData name="Aurelien Domont" userId="6da7715ce44349b3" providerId="LiveId" clId="{1F031B4F-7A08-47B6-9BBE-3BE595172CA2}" dt="2023-02-14T07:34:35.440" v="623" actId="478"/>
          <ac:spMkLst>
            <pc:docMk/>
            <pc:sldMk cId="4013513185" sldId="2424"/>
            <ac:spMk id="8" creationId="{A59D9EB3-E9B5-436C-B84C-64290C638E46}"/>
          </ac:spMkLst>
        </pc:spChg>
      </pc:sldChg>
      <pc:sldChg chg="delSp mod">
        <pc:chgData name="Aurelien Domont" userId="6da7715ce44349b3" providerId="LiveId" clId="{1F031B4F-7A08-47B6-9BBE-3BE595172CA2}" dt="2023-02-14T07:34:31.999" v="622" actId="478"/>
        <pc:sldMkLst>
          <pc:docMk/>
          <pc:sldMk cId="234968368" sldId="2425"/>
        </pc:sldMkLst>
        <pc:spChg chg="del">
          <ac:chgData name="Aurelien Domont" userId="6da7715ce44349b3" providerId="LiveId" clId="{1F031B4F-7A08-47B6-9BBE-3BE595172CA2}" dt="2023-02-14T07:34:31.999" v="622" actId="478"/>
          <ac:spMkLst>
            <pc:docMk/>
            <pc:sldMk cId="234968368" sldId="2425"/>
            <ac:spMk id="8" creationId="{A59D9EB3-E9B5-436C-B84C-64290C638E46}"/>
          </ac:spMkLst>
        </pc:spChg>
      </pc:sldChg>
      <pc:sldChg chg="delSp modSp mod">
        <pc:chgData name="Aurelien Domont" userId="6da7715ce44349b3" providerId="LiveId" clId="{1F031B4F-7A08-47B6-9BBE-3BE595172CA2}" dt="2023-02-14T07:34:37.959" v="624" actId="478"/>
        <pc:sldMkLst>
          <pc:docMk/>
          <pc:sldMk cId="811976027" sldId="2426"/>
        </pc:sldMkLst>
        <pc:spChg chg="del">
          <ac:chgData name="Aurelien Domont" userId="6da7715ce44349b3" providerId="LiveId" clId="{1F031B4F-7A08-47B6-9BBE-3BE595172CA2}" dt="2023-02-14T07:34:37.959" v="624" actId="478"/>
          <ac:spMkLst>
            <pc:docMk/>
            <pc:sldMk cId="811976027" sldId="2426"/>
            <ac:spMk id="8" creationId="{A59D9EB3-E9B5-436C-B84C-64290C638E46}"/>
          </ac:spMkLst>
        </pc:spChg>
        <pc:spChg chg="mod">
          <ac:chgData name="Aurelien Domont" userId="6da7715ce44349b3" providerId="LiveId" clId="{1F031B4F-7A08-47B6-9BBE-3BE595172CA2}" dt="2023-02-14T07:34:23.453" v="621" actId="20577"/>
          <ac:spMkLst>
            <pc:docMk/>
            <pc:sldMk cId="811976027" sldId="2426"/>
            <ac:spMk id="112" creationId="{7176793C-AA87-4217-BCE0-BCBC44DA53B0}"/>
          </ac:spMkLst>
        </pc:spChg>
      </pc:sldChg>
      <pc:sldChg chg="delSp mod">
        <pc:chgData name="Aurelien Domont" userId="6da7715ce44349b3" providerId="LiveId" clId="{1F031B4F-7A08-47B6-9BBE-3BE595172CA2}" dt="2023-02-14T07:34:48.896" v="625" actId="478"/>
        <pc:sldMkLst>
          <pc:docMk/>
          <pc:sldMk cId="658684134" sldId="2427"/>
        </pc:sldMkLst>
        <pc:spChg chg="del">
          <ac:chgData name="Aurelien Domont" userId="6da7715ce44349b3" providerId="LiveId" clId="{1F031B4F-7A08-47B6-9BBE-3BE595172CA2}" dt="2023-02-14T07:34:48.896" v="625" actId="478"/>
          <ac:spMkLst>
            <pc:docMk/>
            <pc:sldMk cId="658684134" sldId="2427"/>
            <ac:spMk id="8" creationId="{A59D9EB3-E9B5-436C-B84C-64290C638E46}"/>
          </ac:spMkLst>
        </pc:spChg>
      </pc:sldChg>
      <pc:sldChg chg="modSp mod">
        <pc:chgData name="Aurelien Domont" userId="6da7715ce44349b3" providerId="LiveId" clId="{1F031B4F-7A08-47B6-9BBE-3BE595172CA2}" dt="2023-02-14T05:45:19.256" v="411" actId="20577"/>
        <pc:sldMkLst>
          <pc:docMk/>
          <pc:sldMk cId="4024712621" sldId="2445"/>
        </pc:sldMkLst>
        <pc:spChg chg="mod">
          <ac:chgData name="Aurelien Domont" userId="6da7715ce44349b3" providerId="LiveId" clId="{1F031B4F-7A08-47B6-9BBE-3BE595172CA2}" dt="2023-02-14T05:45:19.256" v="411" actId="20577"/>
          <ac:spMkLst>
            <pc:docMk/>
            <pc:sldMk cId="4024712621" sldId="2445"/>
            <ac:spMk id="12" creationId="{E9269130-D11D-30F1-52A3-5B560039688A}"/>
          </ac:spMkLst>
        </pc:spChg>
        <pc:spChg chg="mod">
          <ac:chgData name="Aurelien Domont" userId="6da7715ce44349b3" providerId="LiveId" clId="{1F031B4F-7A08-47B6-9BBE-3BE595172CA2}" dt="2023-02-14T05:44:53.743" v="410" actId="20577"/>
          <ac:spMkLst>
            <pc:docMk/>
            <pc:sldMk cId="4024712621" sldId="2445"/>
            <ac:spMk id="18" creationId="{6CF691F5-8A64-58D2-F278-0CE266E4CE47}"/>
          </ac:spMkLst>
        </pc:spChg>
      </pc:sldChg>
      <pc:sldChg chg="addSp delSp modSp mod">
        <pc:chgData name="Aurelien Domont" userId="6da7715ce44349b3" providerId="LiveId" clId="{1F031B4F-7A08-47B6-9BBE-3BE595172CA2}" dt="2023-02-14T07:32:23.986" v="608"/>
        <pc:sldMkLst>
          <pc:docMk/>
          <pc:sldMk cId="1073031341" sldId="2449"/>
        </pc:sldMkLst>
        <pc:spChg chg="add mod">
          <ac:chgData name="Aurelien Domont" userId="6da7715ce44349b3" providerId="LiveId" clId="{1F031B4F-7A08-47B6-9BBE-3BE595172CA2}" dt="2023-02-14T07:32:23.986" v="608"/>
          <ac:spMkLst>
            <pc:docMk/>
            <pc:sldMk cId="1073031341" sldId="2449"/>
            <ac:spMk id="2" creationId="{87BC132D-29CC-93C7-B06D-327872C73E6E}"/>
          </ac:spMkLst>
        </pc:spChg>
        <pc:spChg chg="del">
          <ac:chgData name="Aurelien Domont" userId="6da7715ce44349b3" providerId="LiveId" clId="{1F031B4F-7A08-47B6-9BBE-3BE595172CA2}" dt="2023-02-14T07:32:23.768" v="607" actId="478"/>
          <ac:spMkLst>
            <pc:docMk/>
            <pc:sldMk cId="1073031341" sldId="2449"/>
            <ac:spMk id="8" creationId="{A59D9EB3-E9B5-436C-B84C-64290C638E46}"/>
          </ac:spMkLst>
        </pc:spChg>
      </pc:sldChg>
      <pc:sldChg chg="addSp modSp mod">
        <pc:chgData name="Aurelien Domont" userId="6da7715ce44349b3" providerId="LiveId" clId="{1F031B4F-7A08-47B6-9BBE-3BE595172CA2}" dt="2023-02-14T07:32:34.461" v="613" actId="1038"/>
        <pc:sldMkLst>
          <pc:docMk/>
          <pc:sldMk cId="1815912057" sldId="2450"/>
        </pc:sldMkLst>
        <pc:spChg chg="add mod">
          <ac:chgData name="Aurelien Domont" userId="6da7715ce44349b3" providerId="LiveId" clId="{1F031B4F-7A08-47B6-9BBE-3BE595172CA2}" dt="2023-02-14T07:32:34.461" v="613" actId="1038"/>
          <ac:spMkLst>
            <pc:docMk/>
            <pc:sldMk cId="1815912057" sldId="2450"/>
            <ac:spMk id="2" creationId="{CD02BBB6-729E-CEA6-DB3B-F74C25B19E99}"/>
          </ac:spMkLst>
        </pc:spChg>
      </pc:sldChg>
      <pc:sldChg chg="modSp mod">
        <pc:chgData name="Aurelien Domont" userId="6da7715ce44349b3" providerId="LiveId" clId="{1F031B4F-7A08-47B6-9BBE-3BE595172CA2}" dt="2023-02-13T03:06:29.543" v="288" actId="207"/>
        <pc:sldMkLst>
          <pc:docMk/>
          <pc:sldMk cId="2160862108" sldId="2487"/>
        </pc:sldMkLst>
        <pc:spChg chg="mod">
          <ac:chgData name="Aurelien Domont" userId="6da7715ce44349b3" providerId="LiveId" clId="{1F031B4F-7A08-47B6-9BBE-3BE595172CA2}" dt="2023-02-13T03:06:29.543" v="288" actId="207"/>
          <ac:spMkLst>
            <pc:docMk/>
            <pc:sldMk cId="2160862108" sldId="2487"/>
            <ac:spMk id="4" creationId="{E2BACFE8-7471-0CCA-33B7-2A753BB5E553}"/>
          </ac:spMkLst>
        </pc:spChg>
        <pc:spChg chg="mod">
          <ac:chgData name="Aurelien Domont" userId="6da7715ce44349b3" providerId="LiveId" clId="{1F031B4F-7A08-47B6-9BBE-3BE595172CA2}" dt="2023-02-13T03:03:22.007" v="129" actId="20577"/>
          <ac:spMkLst>
            <pc:docMk/>
            <pc:sldMk cId="2160862108" sldId="2487"/>
            <ac:spMk id="16" creationId="{6C2BB713-9637-4B9B-938F-E9768876782A}"/>
          </ac:spMkLst>
        </pc:spChg>
        <pc:picChg chg="mod">
          <ac:chgData name="Aurelien Domont" userId="6da7715ce44349b3" providerId="LiveId" clId="{1F031B4F-7A08-47B6-9BBE-3BE595172CA2}" dt="2023-02-13T03:01:25.967" v="47" actId="14100"/>
          <ac:picMkLst>
            <pc:docMk/>
            <pc:sldMk cId="2160862108" sldId="2487"/>
            <ac:picMk id="1026" creationId="{C627B5B4-3B99-6C76-9A9F-BBC9CE3BFE3D}"/>
          </ac:picMkLst>
        </pc:picChg>
      </pc:sldChg>
      <pc:sldChg chg="modSp mod ord">
        <pc:chgData name="Aurelien Domont" userId="6da7715ce44349b3" providerId="LiveId" clId="{1F031B4F-7A08-47B6-9BBE-3BE595172CA2}" dt="2023-02-16T02:23:01.068" v="3127" actId="113"/>
        <pc:sldMkLst>
          <pc:docMk/>
          <pc:sldMk cId="1158319604" sldId="2488"/>
        </pc:sldMkLst>
        <pc:spChg chg="mod">
          <ac:chgData name="Aurelien Domont" userId="6da7715ce44349b3" providerId="LiveId" clId="{1F031B4F-7A08-47B6-9BBE-3BE595172CA2}" dt="2023-02-16T02:23:01.068" v="3127" actId="113"/>
          <ac:spMkLst>
            <pc:docMk/>
            <pc:sldMk cId="1158319604" sldId="2488"/>
            <ac:spMk id="4" creationId="{E2BACFE8-7471-0CCA-33B7-2A753BB5E553}"/>
          </ac:spMkLst>
        </pc:spChg>
        <pc:spChg chg="mod">
          <ac:chgData name="Aurelien Domont" userId="6da7715ce44349b3" providerId="LiveId" clId="{1F031B4F-7A08-47B6-9BBE-3BE595172CA2}" dt="2023-02-13T03:10:06.409" v="329"/>
          <ac:spMkLst>
            <pc:docMk/>
            <pc:sldMk cId="1158319604" sldId="2488"/>
            <ac:spMk id="16" creationId="{6C2BB713-9637-4B9B-938F-E9768876782A}"/>
          </ac:spMkLst>
        </pc:spChg>
        <pc:picChg chg="mod">
          <ac:chgData name="Aurelien Domont" userId="6da7715ce44349b3" providerId="LiveId" clId="{1F031B4F-7A08-47B6-9BBE-3BE595172CA2}" dt="2023-02-13T03:01:33.616" v="51" actId="1076"/>
          <ac:picMkLst>
            <pc:docMk/>
            <pc:sldMk cId="1158319604" sldId="2488"/>
            <ac:picMk id="2050" creationId="{E735A548-F3D4-EC6F-2664-A02245193E63}"/>
          </ac:picMkLst>
        </pc:picChg>
      </pc:sldChg>
      <pc:sldChg chg="modSp mod ord">
        <pc:chgData name="Aurelien Domont" userId="6da7715ce44349b3" providerId="LiveId" clId="{1F031B4F-7A08-47B6-9BBE-3BE595172CA2}" dt="2023-02-13T03:06:54.438" v="293"/>
        <pc:sldMkLst>
          <pc:docMk/>
          <pc:sldMk cId="67415954" sldId="2489"/>
        </pc:sldMkLst>
        <pc:spChg chg="mod">
          <ac:chgData name="Aurelien Domont" userId="6da7715ce44349b3" providerId="LiveId" clId="{1F031B4F-7A08-47B6-9BBE-3BE595172CA2}" dt="2023-02-13T03:06:35.103" v="289" actId="207"/>
          <ac:spMkLst>
            <pc:docMk/>
            <pc:sldMk cId="67415954" sldId="2489"/>
            <ac:spMk id="4" creationId="{E2BACFE8-7471-0CCA-33B7-2A753BB5E553}"/>
          </ac:spMkLst>
        </pc:spChg>
        <pc:spChg chg="mod">
          <ac:chgData name="Aurelien Domont" userId="6da7715ce44349b3" providerId="LiveId" clId="{1F031B4F-7A08-47B6-9BBE-3BE595172CA2}" dt="2023-02-13T03:06:06.125" v="284" actId="20577"/>
          <ac:spMkLst>
            <pc:docMk/>
            <pc:sldMk cId="67415954" sldId="2489"/>
            <ac:spMk id="16" creationId="{6C2BB713-9637-4B9B-938F-E9768876782A}"/>
          </ac:spMkLst>
        </pc:spChg>
        <pc:picChg chg="mod">
          <ac:chgData name="Aurelien Domont" userId="6da7715ce44349b3" providerId="LiveId" clId="{1F031B4F-7A08-47B6-9BBE-3BE595172CA2}" dt="2023-02-13T03:01:42.133" v="63" actId="1038"/>
          <ac:picMkLst>
            <pc:docMk/>
            <pc:sldMk cId="67415954" sldId="2489"/>
            <ac:picMk id="3074" creationId="{BD6B3C8C-1E14-DC3D-4ECF-9C3F3DBF4104}"/>
          </ac:picMkLst>
        </pc:picChg>
      </pc:sldChg>
      <pc:sldChg chg="del">
        <pc:chgData name="Aurelien Domont" userId="6da7715ce44349b3" providerId="LiveId" clId="{1F031B4F-7A08-47B6-9BBE-3BE595172CA2}" dt="2023-02-16T00:16:57.813" v="1765" actId="47"/>
        <pc:sldMkLst>
          <pc:docMk/>
          <pc:sldMk cId="1255366533" sldId="2503"/>
        </pc:sldMkLst>
      </pc:sldChg>
      <pc:sldChg chg="addSp delSp modSp mod">
        <pc:chgData name="Aurelien Domont" userId="6da7715ce44349b3" providerId="LiveId" clId="{1F031B4F-7A08-47B6-9BBE-3BE595172CA2}" dt="2023-02-14T07:06:33.390" v="487" actId="478"/>
        <pc:sldMkLst>
          <pc:docMk/>
          <pc:sldMk cId="1621361002" sldId="2517"/>
        </pc:sldMkLst>
        <pc:spChg chg="add del mod">
          <ac:chgData name="Aurelien Domont" userId="6da7715ce44349b3" providerId="LiveId" clId="{1F031B4F-7A08-47B6-9BBE-3BE595172CA2}" dt="2023-02-14T07:06:33.390" v="487" actId="478"/>
          <ac:spMkLst>
            <pc:docMk/>
            <pc:sldMk cId="1621361002" sldId="2517"/>
            <ac:spMk id="2" creationId="{19191F02-0999-E51D-6F17-DF1FADA4AE4C}"/>
          </ac:spMkLst>
        </pc:spChg>
      </pc:sldChg>
      <pc:sldChg chg="modSp mod">
        <pc:chgData name="Aurelien Domont" userId="6da7715ce44349b3" providerId="LiveId" clId="{1F031B4F-7A08-47B6-9BBE-3BE595172CA2}" dt="2023-02-14T07:07:37.231" v="489" actId="20577"/>
        <pc:sldMkLst>
          <pc:docMk/>
          <pc:sldMk cId="3391907502" sldId="2524"/>
        </pc:sldMkLst>
        <pc:spChg chg="mod">
          <ac:chgData name="Aurelien Domont" userId="6da7715ce44349b3" providerId="LiveId" clId="{1F031B4F-7A08-47B6-9BBE-3BE595172CA2}" dt="2023-02-14T07:07:11.380" v="488" actId="20577"/>
          <ac:spMkLst>
            <pc:docMk/>
            <pc:sldMk cId="3391907502" sldId="2524"/>
            <ac:spMk id="4" creationId="{E5145D74-FB43-E084-503A-425B1F67C568}"/>
          </ac:spMkLst>
        </pc:spChg>
        <pc:spChg chg="mod">
          <ac:chgData name="Aurelien Domont" userId="6da7715ce44349b3" providerId="LiveId" clId="{1F031B4F-7A08-47B6-9BBE-3BE595172CA2}" dt="2023-02-14T07:07:37.231" v="489" actId="20577"/>
          <ac:spMkLst>
            <pc:docMk/>
            <pc:sldMk cId="3391907502" sldId="2524"/>
            <ac:spMk id="10" creationId="{202AD567-C1CF-6943-5B61-9EC751729222}"/>
          </ac:spMkLst>
        </pc:spChg>
      </pc:sldChg>
      <pc:sldChg chg="modSp mod">
        <pc:chgData name="Aurelien Domont" userId="6da7715ce44349b3" providerId="LiveId" clId="{1F031B4F-7A08-47B6-9BBE-3BE595172CA2}" dt="2023-02-14T07:07:52.419" v="490" actId="313"/>
        <pc:sldMkLst>
          <pc:docMk/>
          <pc:sldMk cId="2006761934" sldId="2525"/>
        </pc:sldMkLst>
        <pc:spChg chg="mod">
          <ac:chgData name="Aurelien Domont" userId="6da7715ce44349b3" providerId="LiveId" clId="{1F031B4F-7A08-47B6-9BBE-3BE595172CA2}" dt="2023-02-14T07:07:52.419" v="490" actId="313"/>
          <ac:spMkLst>
            <pc:docMk/>
            <pc:sldMk cId="2006761934" sldId="2525"/>
            <ac:spMk id="6" creationId="{846DB13D-C967-0131-8941-52965E4694B7}"/>
          </ac:spMkLst>
        </pc:spChg>
      </pc:sldChg>
      <pc:sldChg chg="modSp mod">
        <pc:chgData name="Aurelien Domont" userId="6da7715ce44349b3" providerId="LiveId" clId="{1F031B4F-7A08-47B6-9BBE-3BE595172CA2}" dt="2023-02-14T05:47:48.521" v="417" actId="20577"/>
        <pc:sldMkLst>
          <pc:docMk/>
          <pc:sldMk cId="114241174" sldId="2532"/>
        </pc:sldMkLst>
        <pc:spChg chg="mod">
          <ac:chgData name="Aurelien Domont" userId="6da7715ce44349b3" providerId="LiveId" clId="{1F031B4F-7A08-47B6-9BBE-3BE595172CA2}" dt="2023-02-14T05:47:30.928" v="415" actId="1037"/>
          <ac:spMkLst>
            <pc:docMk/>
            <pc:sldMk cId="114241174" sldId="2532"/>
            <ac:spMk id="2" creationId="{2C6F6A95-F0F0-2B63-F3A9-02D065C85F78}"/>
          </ac:spMkLst>
        </pc:spChg>
        <pc:spChg chg="mod">
          <ac:chgData name="Aurelien Domont" userId="6da7715ce44349b3" providerId="LiveId" clId="{1F031B4F-7A08-47B6-9BBE-3BE595172CA2}" dt="2023-02-14T05:47:39.211" v="416" actId="1038"/>
          <ac:spMkLst>
            <pc:docMk/>
            <pc:sldMk cId="114241174" sldId="2532"/>
            <ac:spMk id="9" creationId="{E2850080-E3F2-A2AA-AC40-8C36B1F06E22}"/>
          </ac:spMkLst>
        </pc:spChg>
        <pc:spChg chg="mod">
          <ac:chgData name="Aurelien Domont" userId="6da7715ce44349b3" providerId="LiveId" clId="{1F031B4F-7A08-47B6-9BBE-3BE595172CA2}" dt="2023-02-14T05:47:39.211" v="416" actId="1038"/>
          <ac:spMkLst>
            <pc:docMk/>
            <pc:sldMk cId="114241174" sldId="2532"/>
            <ac:spMk id="10" creationId="{2DCC5F5B-4EE6-925A-9842-85E3FBD36043}"/>
          </ac:spMkLst>
        </pc:spChg>
        <pc:spChg chg="mod">
          <ac:chgData name="Aurelien Domont" userId="6da7715ce44349b3" providerId="LiveId" clId="{1F031B4F-7A08-47B6-9BBE-3BE595172CA2}" dt="2023-02-14T05:47:30.928" v="415" actId="1037"/>
          <ac:spMkLst>
            <pc:docMk/>
            <pc:sldMk cId="114241174" sldId="2532"/>
            <ac:spMk id="11" creationId="{3AD51340-0E9C-4DB8-69D6-3919A5B62EFB}"/>
          </ac:spMkLst>
        </pc:spChg>
        <pc:spChg chg="mod">
          <ac:chgData name="Aurelien Domont" userId="6da7715ce44349b3" providerId="LiveId" clId="{1F031B4F-7A08-47B6-9BBE-3BE595172CA2}" dt="2023-02-14T05:47:39.211" v="416" actId="1038"/>
          <ac:spMkLst>
            <pc:docMk/>
            <pc:sldMk cId="114241174" sldId="2532"/>
            <ac:spMk id="12" creationId="{3CA19FC7-76BA-486F-C4AF-5D09B117E30D}"/>
          </ac:spMkLst>
        </pc:spChg>
        <pc:spChg chg="mod">
          <ac:chgData name="Aurelien Domont" userId="6da7715ce44349b3" providerId="LiveId" clId="{1F031B4F-7A08-47B6-9BBE-3BE595172CA2}" dt="2023-02-14T05:47:30.928" v="415" actId="1037"/>
          <ac:spMkLst>
            <pc:docMk/>
            <pc:sldMk cId="114241174" sldId="2532"/>
            <ac:spMk id="14" creationId="{4E14FA1D-86F2-982E-9B3B-B460D4063A53}"/>
          </ac:spMkLst>
        </pc:spChg>
        <pc:spChg chg="mod">
          <ac:chgData name="Aurelien Domont" userId="6da7715ce44349b3" providerId="LiveId" clId="{1F031B4F-7A08-47B6-9BBE-3BE595172CA2}" dt="2023-02-14T05:47:30.928" v="415" actId="1037"/>
          <ac:spMkLst>
            <pc:docMk/>
            <pc:sldMk cId="114241174" sldId="2532"/>
            <ac:spMk id="15" creationId="{79437310-8699-3D88-73A0-6FC09AF0B15C}"/>
          </ac:spMkLst>
        </pc:spChg>
        <pc:spChg chg="mod">
          <ac:chgData name="Aurelien Domont" userId="6da7715ce44349b3" providerId="LiveId" clId="{1F031B4F-7A08-47B6-9BBE-3BE595172CA2}" dt="2023-02-14T05:47:39.211" v="416" actId="1038"/>
          <ac:spMkLst>
            <pc:docMk/>
            <pc:sldMk cId="114241174" sldId="2532"/>
            <ac:spMk id="17" creationId="{79A3743F-46B9-10F6-4AC6-B48A76E66958}"/>
          </ac:spMkLst>
        </pc:spChg>
        <pc:spChg chg="mod">
          <ac:chgData name="Aurelien Domont" userId="6da7715ce44349b3" providerId="LiveId" clId="{1F031B4F-7A08-47B6-9BBE-3BE595172CA2}" dt="2023-02-14T05:47:30.928" v="415" actId="1037"/>
          <ac:spMkLst>
            <pc:docMk/>
            <pc:sldMk cId="114241174" sldId="2532"/>
            <ac:spMk id="19" creationId="{10ECE868-1D8B-491D-E8B2-91A631143294}"/>
          </ac:spMkLst>
        </pc:spChg>
        <pc:spChg chg="mod">
          <ac:chgData name="Aurelien Domont" userId="6da7715ce44349b3" providerId="LiveId" clId="{1F031B4F-7A08-47B6-9BBE-3BE595172CA2}" dt="2023-02-14T05:47:48.521" v="417" actId="20577"/>
          <ac:spMkLst>
            <pc:docMk/>
            <pc:sldMk cId="114241174" sldId="2532"/>
            <ac:spMk id="20" creationId="{F66C0503-CFBA-002B-4B48-2040C768ACA4}"/>
          </ac:spMkLst>
        </pc:spChg>
      </pc:sldChg>
      <pc:sldChg chg="modSp mod">
        <pc:chgData name="Aurelien Domont" userId="6da7715ce44349b3" providerId="LiveId" clId="{1F031B4F-7A08-47B6-9BBE-3BE595172CA2}" dt="2023-02-15T03:33:51.210" v="963" actId="179"/>
        <pc:sldMkLst>
          <pc:docMk/>
          <pc:sldMk cId="1460840373" sldId="2543"/>
        </pc:sldMkLst>
        <pc:spChg chg="mod">
          <ac:chgData name="Aurelien Domont" userId="6da7715ce44349b3" providerId="LiveId" clId="{1F031B4F-7A08-47B6-9BBE-3BE595172CA2}" dt="2023-02-15T03:33:51.210" v="963" actId="179"/>
          <ac:spMkLst>
            <pc:docMk/>
            <pc:sldMk cId="1460840373" sldId="2543"/>
            <ac:spMk id="7" creationId="{FD4CFDE0-758F-5D36-83C6-935DD69568FE}"/>
          </ac:spMkLst>
        </pc:spChg>
      </pc:sldChg>
      <pc:sldChg chg="modSp mod">
        <pc:chgData name="Aurelien Domont" userId="6da7715ce44349b3" providerId="LiveId" clId="{1F031B4F-7A08-47B6-9BBE-3BE595172CA2}" dt="2023-02-14T07:08:01.219" v="492" actId="313"/>
        <pc:sldMkLst>
          <pc:docMk/>
          <pc:sldMk cId="1171926163" sldId="2548"/>
        </pc:sldMkLst>
        <pc:spChg chg="mod">
          <ac:chgData name="Aurelien Domont" userId="6da7715ce44349b3" providerId="LiveId" clId="{1F031B4F-7A08-47B6-9BBE-3BE595172CA2}" dt="2023-02-14T07:08:01.219" v="492" actId="313"/>
          <ac:spMkLst>
            <pc:docMk/>
            <pc:sldMk cId="1171926163" sldId="2548"/>
            <ac:spMk id="42" creationId="{27EDED4D-891C-2F52-4944-3A431158D732}"/>
          </ac:spMkLst>
        </pc:spChg>
      </pc:sldChg>
      <pc:sldChg chg="delSp add del mod">
        <pc:chgData name="Aurelien Domont" userId="6da7715ce44349b3" providerId="LiveId" clId="{1F031B4F-7A08-47B6-9BBE-3BE595172CA2}" dt="2023-02-15T23:58:24.566" v="1533" actId="478"/>
        <pc:sldMkLst>
          <pc:docMk/>
          <pc:sldMk cId="2825689156" sldId="2551"/>
        </pc:sldMkLst>
        <pc:spChg chg="del">
          <ac:chgData name="Aurelien Domont" userId="6da7715ce44349b3" providerId="LiveId" clId="{1F031B4F-7A08-47B6-9BBE-3BE595172CA2}" dt="2023-02-15T23:58:24.566" v="1533" actId="478"/>
          <ac:spMkLst>
            <pc:docMk/>
            <pc:sldMk cId="2825689156" sldId="2551"/>
            <ac:spMk id="8" creationId="{A59D9EB3-E9B5-436C-B84C-64290C638E46}"/>
          </ac:spMkLst>
        </pc:spChg>
      </pc:sldChg>
      <pc:sldChg chg="delSp add del mod">
        <pc:chgData name="Aurelien Domont" userId="6da7715ce44349b3" providerId="LiveId" clId="{1F031B4F-7A08-47B6-9BBE-3BE595172CA2}" dt="2023-02-15T23:58:20.895" v="1532" actId="478"/>
        <pc:sldMkLst>
          <pc:docMk/>
          <pc:sldMk cId="3015757233" sldId="2552"/>
        </pc:sldMkLst>
        <pc:spChg chg="del">
          <ac:chgData name="Aurelien Domont" userId="6da7715ce44349b3" providerId="LiveId" clId="{1F031B4F-7A08-47B6-9BBE-3BE595172CA2}" dt="2023-02-15T23:58:20.895" v="1532" actId="478"/>
          <ac:spMkLst>
            <pc:docMk/>
            <pc:sldMk cId="3015757233" sldId="2552"/>
            <ac:spMk id="8" creationId="{A59D9EB3-E9B5-436C-B84C-64290C638E46}"/>
          </ac:spMkLst>
        </pc:spChg>
      </pc:sldChg>
      <pc:sldChg chg="delSp add del mod">
        <pc:chgData name="Aurelien Domont" userId="6da7715ce44349b3" providerId="LiveId" clId="{1F031B4F-7A08-47B6-9BBE-3BE595172CA2}" dt="2023-02-15T23:58:12.174" v="1530" actId="478"/>
        <pc:sldMkLst>
          <pc:docMk/>
          <pc:sldMk cId="2341912036" sldId="2553"/>
        </pc:sldMkLst>
        <pc:spChg chg="del">
          <ac:chgData name="Aurelien Domont" userId="6da7715ce44349b3" providerId="LiveId" clId="{1F031B4F-7A08-47B6-9BBE-3BE595172CA2}" dt="2023-02-15T23:58:12.174" v="1530" actId="478"/>
          <ac:spMkLst>
            <pc:docMk/>
            <pc:sldMk cId="2341912036" sldId="2553"/>
            <ac:spMk id="8" creationId="{A59D9EB3-E9B5-436C-B84C-64290C638E46}"/>
          </ac:spMkLst>
        </pc:spChg>
      </pc:sldChg>
      <pc:sldChg chg="modSp mod">
        <pc:chgData name="Aurelien Domont" userId="6da7715ce44349b3" providerId="LiveId" clId="{1F031B4F-7A08-47B6-9BBE-3BE595172CA2}" dt="2023-02-15T04:14:39.543" v="1000" actId="20577"/>
        <pc:sldMkLst>
          <pc:docMk/>
          <pc:sldMk cId="920435364" sldId="2580"/>
        </pc:sldMkLst>
        <pc:spChg chg="mod">
          <ac:chgData name="Aurelien Domont" userId="6da7715ce44349b3" providerId="LiveId" clId="{1F031B4F-7A08-47B6-9BBE-3BE595172CA2}" dt="2023-02-15T04:13:56.980" v="988" actId="14100"/>
          <ac:spMkLst>
            <pc:docMk/>
            <pc:sldMk cId="920435364" sldId="2580"/>
            <ac:spMk id="3" creationId="{42CF9ADC-1684-1CE2-D33C-D2FA8A616E5C}"/>
          </ac:spMkLst>
        </pc:spChg>
        <pc:spChg chg="mod">
          <ac:chgData name="Aurelien Domont" userId="6da7715ce44349b3" providerId="LiveId" clId="{1F031B4F-7A08-47B6-9BBE-3BE595172CA2}" dt="2023-02-15T04:14:39.543" v="1000" actId="20577"/>
          <ac:spMkLst>
            <pc:docMk/>
            <pc:sldMk cId="920435364" sldId="2580"/>
            <ac:spMk id="16" creationId="{6C2BB713-9637-4B9B-938F-E9768876782A}"/>
          </ac:spMkLst>
        </pc:spChg>
      </pc:sldChg>
      <pc:sldChg chg="modSp mod">
        <pc:chgData name="Aurelien Domont" userId="6da7715ce44349b3" providerId="LiveId" clId="{1F031B4F-7A08-47B6-9BBE-3BE595172CA2}" dt="2023-02-15T04:26:33.354" v="1004" actId="20577"/>
        <pc:sldMkLst>
          <pc:docMk/>
          <pc:sldMk cId="1870678215" sldId="2589"/>
        </pc:sldMkLst>
        <pc:spChg chg="mod">
          <ac:chgData name="Aurelien Domont" userId="6da7715ce44349b3" providerId="LiveId" clId="{1F031B4F-7A08-47B6-9BBE-3BE595172CA2}" dt="2023-02-15T04:26:33.354" v="1004" actId="20577"/>
          <ac:spMkLst>
            <pc:docMk/>
            <pc:sldMk cId="1870678215" sldId="2589"/>
            <ac:spMk id="16" creationId="{6C2BB713-9637-4B9B-938F-E9768876782A}"/>
          </ac:spMkLst>
        </pc:spChg>
      </pc:sldChg>
      <pc:sldChg chg="modSp mod">
        <pc:chgData name="Aurelien Domont" userId="6da7715ce44349b3" providerId="LiveId" clId="{1F031B4F-7A08-47B6-9BBE-3BE595172CA2}" dt="2023-02-15T04:26:53.281" v="1005" actId="20577"/>
        <pc:sldMkLst>
          <pc:docMk/>
          <pc:sldMk cId="3987364234" sldId="2590"/>
        </pc:sldMkLst>
        <pc:spChg chg="mod">
          <ac:chgData name="Aurelien Domont" userId="6da7715ce44349b3" providerId="LiveId" clId="{1F031B4F-7A08-47B6-9BBE-3BE595172CA2}" dt="2023-02-15T04:26:53.281" v="1005" actId="20577"/>
          <ac:spMkLst>
            <pc:docMk/>
            <pc:sldMk cId="3987364234" sldId="2590"/>
            <ac:spMk id="31" creationId="{54B27846-4CC2-CAB0-9435-56E1928738B0}"/>
          </ac:spMkLst>
        </pc:spChg>
      </pc:sldChg>
      <pc:sldChg chg="modSp mod">
        <pc:chgData name="Aurelien Domont" userId="6da7715ce44349b3" providerId="LiveId" clId="{1F031B4F-7A08-47B6-9BBE-3BE595172CA2}" dt="2023-02-15T05:38:43.079" v="1010" actId="179"/>
        <pc:sldMkLst>
          <pc:docMk/>
          <pc:sldMk cId="3404802973" sldId="2598"/>
        </pc:sldMkLst>
        <pc:spChg chg="mod">
          <ac:chgData name="Aurelien Domont" userId="6da7715ce44349b3" providerId="LiveId" clId="{1F031B4F-7A08-47B6-9BBE-3BE595172CA2}" dt="2023-02-15T05:38:43.079" v="1010" actId="179"/>
          <ac:spMkLst>
            <pc:docMk/>
            <pc:sldMk cId="3404802973" sldId="2598"/>
            <ac:spMk id="4" creationId="{471FDD12-2524-D2C4-61FC-BBD6D7EE5522}"/>
          </ac:spMkLst>
        </pc:spChg>
      </pc:sldChg>
      <pc:sldChg chg="del">
        <pc:chgData name="Aurelien Domont" userId="6da7715ce44349b3" providerId="LiveId" clId="{1F031B4F-7A08-47B6-9BBE-3BE595172CA2}" dt="2023-02-13T02:57:52.442" v="0" actId="47"/>
        <pc:sldMkLst>
          <pc:docMk/>
          <pc:sldMk cId="1032995605" sldId="2605"/>
        </pc:sldMkLst>
      </pc:sldChg>
      <pc:sldChg chg="modSp add del mod">
        <pc:chgData name="Aurelien Domont" userId="6da7715ce44349b3" providerId="LiveId" clId="{1F031B4F-7A08-47B6-9BBE-3BE595172CA2}" dt="2023-02-16T00:17:54.251" v="1766" actId="20577"/>
        <pc:sldMkLst>
          <pc:docMk/>
          <pc:sldMk cId="161867065" sldId="2640"/>
        </pc:sldMkLst>
        <pc:spChg chg="mod">
          <ac:chgData name="Aurelien Domont" userId="6da7715ce44349b3" providerId="LiveId" clId="{1F031B4F-7A08-47B6-9BBE-3BE595172CA2}" dt="2023-02-14T07:08:47.654" v="516" actId="313"/>
          <ac:spMkLst>
            <pc:docMk/>
            <pc:sldMk cId="161867065" sldId="2640"/>
            <ac:spMk id="14" creationId="{F55600FA-38A4-3E21-3758-6C7A50353FB1}"/>
          </ac:spMkLst>
        </pc:spChg>
        <pc:spChg chg="mod">
          <ac:chgData name="Aurelien Domont" userId="6da7715ce44349b3" providerId="LiveId" clId="{1F031B4F-7A08-47B6-9BBE-3BE595172CA2}" dt="2023-02-16T00:17:54.251" v="1766" actId="20577"/>
          <ac:spMkLst>
            <pc:docMk/>
            <pc:sldMk cId="161867065" sldId="2640"/>
            <ac:spMk id="16" creationId="{6C2BB713-9637-4B9B-938F-E9768876782A}"/>
          </ac:spMkLst>
        </pc:spChg>
      </pc:sldChg>
      <pc:sldChg chg="add del">
        <pc:chgData name="Aurelien Domont" userId="6da7715ce44349b3" providerId="LiveId" clId="{1F031B4F-7A08-47B6-9BBE-3BE595172CA2}" dt="2023-02-16T00:05:13.546" v="1595"/>
        <pc:sldMkLst>
          <pc:docMk/>
          <pc:sldMk cId="1189212000" sldId="2643"/>
        </pc:sldMkLst>
      </pc:sldChg>
      <pc:sldChg chg="del">
        <pc:chgData name="Aurelien Domont" userId="6da7715ce44349b3" providerId="LiveId" clId="{1F031B4F-7A08-47B6-9BBE-3BE595172CA2}" dt="2023-02-15T23:27:50.113" v="1105" actId="47"/>
        <pc:sldMkLst>
          <pc:docMk/>
          <pc:sldMk cId="1923001483" sldId="2644"/>
        </pc:sldMkLst>
      </pc:sldChg>
      <pc:sldChg chg="modSp del mod">
        <pc:chgData name="Aurelien Domont" userId="6da7715ce44349b3" providerId="LiveId" clId="{1F031B4F-7A08-47B6-9BBE-3BE595172CA2}" dt="2023-02-14T05:37:54.519" v="407" actId="2696"/>
        <pc:sldMkLst>
          <pc:docMk/>
          <pc:sldMk cId="598821393" sldId="2645"/>
        </pc:sldMkLst>
        <pc:spChg chg="mod">
          <ac:chgData name="Aurelien Domont" userId="6da7715ce44349b3" providerId="LiveId" clId="{1F031B4F-7A08-47B6-9BBE-3BE595172CA2}" dt="2023-02-14T05:36:15.289" v="390" actId="1038"/>
          <ac:spMkLst>
            <pc:docMk/>
            <pc:sldMk cId="598821393" sldId="2645"/>
            <ac:spMk id="3" creationId="{DDBE6CC1-3FC7-85EF-CAAF-167E54AE5F7F}"/>
          </ac:spMkLst>
        </pc:spChg>
        <pc:spChg chg="mod">
          <ac:chgData name="Aurelien Domont" userId="6da7715ce44349b3" providerId="LiveId" clId="{1F031B4F-7A08-47B6-9BBE-3BE595172CA2}" dt="2023-02-14T05:37:47.922" v="406" actId="20577"/>
          <ac:spMkLst>
            <pc:docMk/>
            <pc:sldMk cId="598821393" sldId="2645"/>
            <ac:spMk id="5" creationId="{0B4FBD31-0C8A-59D9-9B52-F453FB623368}"/>
          </ac:spMkLst>
        </pc:spChg>
        <pc:spChg chg="mod">
          <ac:chgData name="Aurelien Domont" userId="6da7715ce44349b3" providerId="LiveId" clId="{1F031B4F-7A08-47B6-9BBE-3BE595172CA2}" dt="2023-02-14T05:36:15.289" v="390" actId="1038"/>
          <ac:spMkLst>
            <pc:docMk/>
            <pc:sldMk cId="598821393" sldId="2645"/>
            <ac:spMk id="6" creationId="{C5995262-1C5F-27CF-0CDC-199D60721C0E}"/>
          </ac:spMkLst>
        </pc:spChg>
        <pc:spChg chg="mod">
          <ac:chgData name="Aurelien Domont" userId="6da7715ce44349b3" providerId="LiveId" clId="{1F031B4F-7A08-47B6-9BBE-3BE595172CA2}" dt="2023-02-14T05:36:15.289" v="390" actId="1038"/>
          <ac:spMkLst>
            <pc:docMk/>
            <pc:sldMk cId="598821393" sldId="2645"/>
            <ac:spMk id="10" creationId="{575037EC-2555-741A-8E47-E38C5EFF5519}"/>
          </ac:spMkLst>
        </pc:spChg>
        <pc:spChg chg="mod">
          <ac:chgData name="Aurelien Domont" userId="6da7715ce44349b3" providerId="LiveId" clId="{1F031B4F-7A08-47B6-9BBE-3BE595172CA2}" dt="2023-02-14T05:36:15.289" v="390" actId="1038"/>
          <ac:spMkLst>
            <pc:docMk/>
            <pc:sldMk cId="598821393" sldId="2645"/>
            <ac:spMk id="11" creationId="{38DE2996-FD1A-5FBC-BEC0-8371C105641B}"/>
          </ac:spMkLst>
        </pc:spChg>
        <pc:spChg chg="mod">
          <ac:chgData name="Aurelien Domont" userId="6da7715ce44349b3" providerId="LiveId" clId="{1F031B4F-7A08-47B6-9BBE-3BE595172CA2}" dt="2023-02-14T05:36:15.289" v="390" actId="1038"/>
          <ac:spMkLst>
            <pc:docMk/>
            <pc:sldMk cId="598821393" sldId="2645"/>
            <ac:spMk id="12" creationId="{133442C1-2268-4FDC-D086-0723AE21A7BF}"/>
          </ac:spMkLst>
        </pc:spChg>
        <pc:spChg chg="mod">
          <ac:chgData name="Aurelien Domont" userId="6da7715ce44349b3" providerId="LiveId" clId="{1F031B4F-7A08-47B6-9BBE-3BE595172CA2}" dt="2023-02-14T05:36:15.289" v="390" actId="1038"/>
          <ac:spMkLst>
            <pc:docMk/>
            <pc:sldMk cId="598821393" sldId="2645"/>
            <ac:spMk id="14" creationId="{03E0294C-EFDC-99A9-7F33-EB5D59E444A6}"/>
          </ac:spMkLst>
        </pc:spChg>
        <pc:spChg chg="mod">
          <ac:chgData name="Aurelien Domont" userId="6da7715ce44349b3" providerId="LiveId" clId="{1F031B4F-7A08-47B6-9BBE-3BE595172CA2}" dt="2023-02-14T05:36:15.289" v="390" actId="1038"/>
          <ac:spMkLst>
            <pc:docMk/>
            <pc:sldMk cId="598821393" sldId="2645"/>
            <ac:spMk id="15" creationId="{93A47C9B-5223-D8D8-39B4-03EEA66A126E}"/>
          </ac:spMkLst>
        </pc:spChg>
        <pc:spChg chg="mod">
          <ac:chgData name="Aurelien Domont" userId="6da7715ce44349b3" providerId="LiveId" clId="{1F031B4F-7A08-47B6-9BBE-3BE595172CA2}" dt="2023-02-14T05:36:15.289" v="390" actId="1038"/>
          <ac:spMkLst>
            <pc:docMk/>
            <pc:sldMk cId="598821393" sldId="2645"/>
            <ac:spMk id="17" creationId="{AAD16F96-DE63-31F2-378D-8A132CDB160F}"/>
          </ac:spMkLst>
        </pc:spChg>
        <pc:spChg chg="mod">
          <ac:chgData name="Aurelien Domont" userId="6da7715ce44349b3" providerId="LiveId" clId="{1F031B4F-7A08-47B6-9BBE-3BE595172CA2}" dt="2023-02-14T05:36:15.289" v="390" actId="1038"/>
          <ac:spMkLst>
            <pc:docMk/>
            <pc:sldMk cId="598821393" sldId="2645"/>
            <ac:spMk id="18" creationId="{9F60CC1E-33FA-41F1-7245-42F6D722D061}"/>
          </ac:spMkLst>
        </pc:spChg>
        <pc:spChg chg="mod">
          <ac:chgData name="Aurelien Domont" userId="6da7715ce44349b3" providerId="LiveId" clId="{1F031B4F-7A08-47B6-9BBE-3BE595172CA2}" dt="2023-02-14T05:36:15.289" v="390" actId="1038"/>
          <ac:spMkLst>
            <pc:docMk/>
            <pc:sldMk cId="598821393" sldId="2645"/>
            <ac:spMk id="19" creationId="{8491B8D4-09CA-963F-3E92-A8030D036D80}"/>
          </ac:spMkLst>
        </pc:spChg>
        <pc:spChg chg="mod">
          <ac:chgData name="Aurelien Domont" userId="6da7715ce44349b3" providerId="LiveId" clId="{1F031B4F-7A08-47B6-9BBE-3BE595172CA2}" dt="2023-02-14T05:36:15.289" v="390" actId="1038"/>
          <ac:spMkLst>
            <pc:docMk/>
            <pc:sldMk cId="598821393" sldId="2645"/>
            <ac:spMk id="20" creationId="{ADD9DF32-5180-5DBA-8B2B-11594D9AD0B4}"/>
          </ac:spMkLst>
        </pc:spChg>
        <pc:spChg chg="mod">
          <ac:chgData name="Aurelien Domont" userId="6da7715ce44349b3" providerId="LiveId" clId="{1F031B4F-7A08-47B6-9BBE-3BE595172CA2}" dt="2023-02-14T05:36:15.289" v="390" actId="1038"/>
          <ac:spMkLst>
            <pc:docMk/>
            <pc:sldMk cId="598821393" sldId="2645"/>
            <ac:spMk id="21" creationId="{4492D81E-6A2A-EEE2-7B82-2200E19C33AA}"/>
          </ac:spMkLst>
        </pc:spChg>
        <pc:spChg chg="mod">
          <ac:chgData name="Aurelien Domont" userId="6da7715ce44349b3" providerId="LiveId" clId="{1F031B4F-7A08-47B6-9BBE-3BE595172CA2}" dt="2023-02-14T05:36:15.289" v="390" actId="1038"/>
          <ac:spMkLst>
            <pc:docMk/>
            <pc:sldMk cId="598821393" sldId="2645"/>
            <ac:spMk id="39" creationId="{AA38D106-0E97-46A6-6CF4-2483D95032D3}"/>
          </ac:spMkLst>
        </pc:spChg>
        <pc:spChg chg="mod">
          <ac:chgData name="Aurelien Domont" userId="6da7715ce44349b3" providerId="LiveId" clId="{1F031B4F-7A08-47B6-9BBE-3BE595172CA2}" dt="2023-02-14T05:36:15.289" v="390" actId="1038"/>
          <ac:spMkLst>
            <pc:docMk/>
            <pc:sldMk cId="598821393" sldId="2645"/>
            <ac:spMk id="40" creationId="{1D3C9572-A8F1-9B19-E5C4-41E1F8891561}"/>
          </ac:spMkLst>
        </pc:spChg>
        <pc:spChg chg="mod">
          <ac:chgData name="Aurelien Domont" userId="6da7715ce44349b3" providerId="LiveId" clId="{1F031B4F-7A08-47B6-9BBE-3BE595172CA2}" dt="2023-02-14T05:36:15.289" v="390" actId="1038"/>
          <ac:spMkLst>
            <pc:docMk/>
            <pc:sldMk cId="598821393" sldId="2645"/>
            <ac:spMk id="41" creationId="{B3BDA427-A729-185B-467B-B7EFCDA82061}"/>
          </ac:spMkLst>
        </pc:spChg>
        <pc:spChg chg="mod">
          <ac:chgData name="Aurelien Domont" userId="6da7715ce44349b3" providerId="LiveId" clId="{1F031B4F-7A08-47B6-9BBE-3BE595172CA2}" dt="2023-02-14T05:36:15.289" v="390" actId="1038"/>
          <ac:spMkLst>
            <pc:docMk/>
            <pc:sldMk cId="598821393" sldId="2645"/>
            <ac:spMk id="42" creationId="{40C22669-2AB6-7BDD-4A36-7F48346F5FA8}"/>
          </ac:spMkLst>
        </pc:spChg>
        <pc:spChg chg="mod">
          <ac:chgData name="Aurelien Domont" userId="6da7715ce44349b3" providerId="LiveId" clId="{1F031B4F-7A08-47B6-9BBE-3BE595172CA2}" dt="2023-02-14T05:36:15.289" v="390" actId="1038"/>
          <ac:spMkLst>
            <pc:docMk/>
            <pc:sldMk cId="598821393" sldId="2645"/>
            <ac:spMk id="43" creationId="{84844A84-92D7-06E8-991F-B4439DE97641}"/>
          </ac:spMkLst>
        </pc:spChg>
        <pc:spChg chg="mod">
          <ac:chgData name="Aurelien Domont" userId="6da7715ce44349b3" providerId="LiveId" clId="{1F031B4F-7A08-47B6-9BBE-3BE595172CA2}" dt="2023-02-14T05:36:15.289" v="390" actId="1038"/>
          <ac:spMkLst>
            <pc:docMk/>
            <pc:sldMk cId="598821393" sldId="2645"/>
            <ac:spMk id="45" creationId="{40A48555-0764-32F5-22BD-121704BE0E49}"/>
          </ac:spMkLst>
        </pc:spChg>
        <pc:spChg chg="mod">
          <ac:chgData name="Aurelien Domont" userId="6da7715ce44349b3" providerId="LiveId" clId="{1F031B4F-7A08-47B6-9BBE-3BE595172CA2}" dt="2023-02-14T05:36:15.289" v="390" actId="1038"/>
          <ac:spMkLst>
            <pc:docMk/>
            <pc:sldMk cId="598821393" sldId="2645"/>
            <ac:spMk id="46" creationId="{9ECE7752-8B01-582D-E8DE-1DED658EED56}"/>
          </ac:spMkLst>
        </pc:spChg>
        <pc:spChg chg="mod">
          <ac:chgData name="Aurelien Domont" userId="6da7715ce44349b3" providerId="LiveId" clId="{1F031B4F-7A08-47B6-9BBE-3BE595172CA2}" dt="2023-02-14T05:36:15.289" v="390" actId="1038"/>
          <ac:spMkLst>
            <pc:docMk/>
            <pc:sldMk cId="598821393" sldId="2645"/>
            <ac:spMk id="47" creationId="{0073A390-24EC-E7D5-BA6B-966D5116B538}"/>
          </ac:spMkLst>
        </pc:spChg>
        <pc:spChg chg="mod">
          <ac:chgData name="Aurelien Domont" userId="6da7715ce44349b3" providerId="LiveId" clId="{1F031B4F-7A08-47B6-9BBE-3BE595172CA2}" dt="2023-02-14T05:36:15.289" v="390" actId="1038"/>
          <ac:spMkLst>
            <pc:docMk/>
            <pc:sldMk cId="598821393" sldId="2645"/>
            <ac:spMk id="48" creationId="{85BA89EB-D8D6-CEA3-FA86-5258CD99496B}"/>
          </ac:spMkLst>
        </pc:spChg>
        <pc:spChg chg="mod">
          <ac:chgData name="Aurelien Domont" userId="6da7715ce44349b3" providerId="LiveId" clId="{1F031B4F-7A08-47B6-9BBE-3BE595172CA2}" dt="2023-02-14T05:36:15.289" v="390" actId="1038"/>
          <ac:spMkLst>
            <pc:docMk/>
            <pc:sldMk cId="598821393" sldId="2645"/>
            <ac:spMk id="49" creationId="{5EEAA94F-E9B3-7657-0596-E7CF5D5B2D61}"/>
          </ac:spMkLst>
        </pc:spChg>
        <pc:spChg chg="mod">
          <ac:chgData name="Aurelien Domont" userId="6da7715ce44349b3" providerId="LiveId" clId="{1F031B4F-7A08-47B6-9BBE-3BE595172CA2}" dt="2023-02-14T05:36:15.289" v="390" actId="1038"/>
          <ac:spMkLst>
            <pc:docMk/>
            <pc:sldMk cId="598821393" sldId="2645"/>
            <ac:spMk id="50" creationId="{A0F42391-B5F6-3614-3513-FCBFE2FFF91E}"/>
          </ac:spMkLst>
        </pc:spChg>
        <pc:spChg chg="mod">
          <ac:chgData name="Aurelien Domont" userId="6da7715ce44349b3" providerId="LiveId" clId="{1F031B4F-7A08-47B6-9BBE-3BE595172CA2}" dt="2023-02-14T05:36:15.289" v="390" actId="1038"/>
          <ac:spMkLst>
            <pc:docMk/>
            <pc:sldMk cId="598821393" sldId="2645"/>
            <ac:spMk id="51" creationId="{55950B6F-B567-B6E0-16AE-683CCF419E3F}"/>
          </ac:spMkLst>
        </pc:spChg>
        <pc:spChg chg="mod">
          <ac:chgData name="Aurelien Domont" userId="6da7715ce44349b3" providerId="LiveId" clId="{1F031B4F-7A08-47B6-9BBE-3BE595172CA2}" dt="2023-02-14T05:36:15.289" v="390" actId="1038"/>
          <ac:spMkLst>
            <pc:docMk/>
            <pc:sldMk cId="598821393" sldId="2645"/>
            <ac:spMk id="52" creationId="{7184EDF1-BF42-1692-A367-C23829444750}"/>
          </ac:spMkLst>
        </pc:spChg>
        <pc:spChg chg="mod">
          <ac:chgData name="Aurelien Domont" userId="6da7715ce44349b3" providerId="LiveId" clId="{1F031B4F-7A08-47B6-9BBE-3BE595172CA2}" dt="2023-02-14T05:36:15.289" v="390" actId="1038"/>
          <ac:spMkLst>
            <pc:docMk/>
            <pc:sldMk cId="598821393" sldId="2645"/>
            <ac:spMk id="53" creationId="{1032701F-2D4B-D361-CCE1-E47B82BCB020}"/>
          </ac:spMkLst>
        </pc:spChg>
        <pc:spChg chg="mod">
          <ac:chgData name="Aurelien Domont" userId="6da7715ce44349b3" providerId="LiveId" clId="{1F031B4F-7A08-47B6-9BBE-3BE595172CA2}" dt="2023-02-14T05:36:15.289" v="390" actId="1038"/>
          <ac:spMkLst>
            <pc:docMk/>
            <pc:sldMk cId="598821393" sldId="2645"/>
            <ac:spMk id="54" creationId="{B7C6B978-9953-975D-C723-D492BD525C66}"/>
          </ac:spMkLst>
        </pc:spChg>
        <pc:spChg chg="mod">
          <ac:chgData name="Aurelien Domont" userId="6da7715ce44349b3" providerId="LiveId" clId="{1F031B4F-7A08-47B6-9BBE-3BE595172CA2}" dt="2023-02-14T05:36:15.289" v="390" actId="1038"/>
          <ac:spMkLst>
            <pc:docMk/>
            <pc:sldMk cId="598821393" sldId="2645"/>
            <ac:spMk id="55" creationId="{D2A4AEC0-EBDE-D79E-5DD2-D91B665295CB}"/>
          </ac:spMkLst>
        </pc:spChg>
        <pc:spChg chg="mod">
          <ac:chgData name="Aurelien Domont" userId="6da7715ce44349b3" providerId="LiveId" clId="{1F031B4F-7A08-47B6-9BBE-3BE595172CA2}" dt="2023-02-14T05:36:15.289" v="390" actId="1038"/>
          <ac:spMkLst>
            <pc:docMk/>
            <pc:sldMk cId="598821393" sldId="2645"/>
            <ac:spMk id="56" creationId="{722D8527-F604-4B33-85F5-9E3BC74223C2}"/>
          </ac:spMkLst>
        </pc:spChg>
        <pc:spChg chg="mod">
          <ac:chgData name="Aurelien Domont" userId="6da7715ce44349b3" providerId="LiveId" clId="{1F031B4F-7A08-47B6-9BBE-3BE595172CA2}" dt="2023-02-14T05:36:15.289" v="390" actId="1038"/>
          <ac:spMkLst>
            <pc:docMk/>
            <pc:sldMk cId="598821393" sldId="2645"/>
            <ac:spMk id="59" creationId="{8CD1C9C1-3407-EA2D-9074-74CF68F5766B}"/>
          </ac:spMkLst>
        </pc:spChg>
        <pc:spChg chg="mod">
          <ac:chgData name="Aurelien Domont" userId="6da7715ce44349b3" providerId="LiveId" clId="{1F031B4F-7A08-47B6-9BBE-3BE595172CA2}" dt="2023-02-14T05:36:15.289" v="390" actId="1038"/>
          <ac:spMkLst>
            <pc:docMk/>
            <pc:sldMk cId="598821393" sldId="2645"/>
            <ac:spMk id="60" creationId="{92D667F4-B3B8-73F6-563C-30A15320C78D}"/>
          </ac:spMkLst>
        </pc:spChg>
        <pc:spChg chg="mod">
          <ac:chgData name="Aurelien Domont" userId="6da7715ce44349b3" providerId="LiveId" clId="{1F031B4F-7A08-47B6-9BBE-3BE595172CA2}" dt="2023-02-14T05:36:15.289" v="390" actId="1038"/>
          <ac:spMkLst>
            <pc:docMk/>
            <pc:sldMk cId="598821393" sldId="2645"/>
            <ac:spMk id="61" creationId="{A5C69E19-D014-E6C4-6F1B-2F3F1A901D90}"/>
          </ac:spMkLst>
        </pc:spChg>
        <pc:spChg chg="mod">
          <ac:chgData name="Aurelien Domont" userId="6da7715ce44349b3" providerId="LiveId" clId="{1F031B4F-7A08-47B6-9BBE-3BE595172CA2}" dt="2023-02-14T05:36:15.289" v="390" actId="1038"/>
          <ac:spMkLst>
            <pc:docMk/>
            <pc:sldMk cId="598821393" sldId="2645"/>
            <ac:spMk id="62" creationId="{778DA56D-D458-9ADF-2290-69BD31E7E61E}"/>
          </ac:spMkLst>
        </pc:spChg>
        <pc:spChg chg="mod">
          <ac:chgData name="Aurelien Domont" userId="6da7715ce44349b3" providerId="LiveId" clId="{1F031B4F-7A08-47B6-9BBE-3BE595172CA2}" dt="2023-02-14T05:36:15.289" v="390" actId="1038"/>
          <ac:spMkLst>
            <pc:docMk/>
            <pc:sldMk cId="598821393" sldId="2645"/>
            <ac:spMk id="63" creationId="{737A0794-C078-BD5B-AC9B-30D596C4BC32}"/>
          </ac:spMkLst>
        </pc:spChg>
        <pc:spChg chg="mod">
          <ac:chgData name="Aurelien Domont" userId="6da7715ce44349b3" providerId="LiveId" clId="{1F031B4F-7A08-47B6-9BBE-3BE595172CA2}" dt="2023-02-14T05:36:15.289" v="390" actId="1038"/>
          <ac:spMkLst>
            <pc:docMk/>
            <pc:sldMk cId="598821393" sldId="2645"/>
            <ac:spMk id="65" creationId="{E0B36C60-0B76-55DF-83CC-7FFD2C8FBB9F}"/>
          </ac:spMkLst>
        </pc:spChg>
        <pc:spChg chg="mod">
          <ac:chgData name="Aurelien Domont" userId="6da7715ce44349b3" providerId="LiveId" clId="{1F031B4F-7A08-47B6-9BBE-3BE595172CA2}" dt="2023-02-14T05:36:15.289" v="390" actId="1038"/>
          <ac:spMkLst>
            <pc:docMk/>
            <pc:sldMk cId="598821393" sldId="2645"/>
            <ac:spMk id="66" creationId="{DB873BA6-9FEC-8E6A-D0B0-96A9A5637853}"/>
          </ac:spMkLst>
        </pc:spChg>
        <pc:spChg chg="mod">
          <ac:chgData name="Aurelien Domont" userId="6da7715ce44349b3" providerId="LiveId" clId="{1F031B4F-7A08-47B6-9BBE-3BE595172CA2}" dt="2023-02-14T05:36:15.289" v="390" actId="1038"/>
          <ac:spMkLst>
            <pc:docMk/>
            <pc:sldMk cId="598821393" sldId="2645"/>
            <ac:spMk id="67" creationId="{E31B22CE-F57D-05A5-3EA0-DA447D722A9F}"/>
          </ac:spMkLst>
        </pc:spChg>
        <pc:spChg chg="mod">
          <ac:chgData name="Aurelien Domont" userId="6da7715ce44349b3" providerId="LiveId" clId="{1F031B4F-7A08-47B6-9BBE-3BE595172CA2}" dt="2023-02-14T05:36:15.289" v="390" actId="1038"/>
          <ac:spMkLst>
            <pc:docMk/>
            <pc:sldMk cId="598821393" sldId="2645"/>
            <ac:spMk id="68" creationId="{A23D9284-10B6-D49A-71D8-40B96940761B}"/>
          </ac:spMkLst>
        </pc:spChg>
        <pc:spChg chg="mod">
          <ac:chgData name="Aurelien Domont" userId="6da7715ce44349b3" providerId="LiveId" clId="{1F031B4F-7A08-47B6-9BBE-3BE595172CA2}" dt="2023-02-14T05:36:15.289" v="390" actId="1038"/>
          <ac:spMkLst>
            <pc:docMk/>
            <pc:sldMk cId="598821393" sldId="2645"/>
            <ac:spMk id="69" creationId="{A5922019-C6D3-5620-EF25-8138C7909B00}"/>
          </ac:spMkLst>
        </pc:spChg>
        <pc:spChg chg="mod">
          <ac:chgData name="Aurelien Domont" userId="6da7715ce44349b3" providerId="LiveId" clId="{1F031B4F-7A08-47B6-9BBE-3BE595172CA2}" dt="2023-02-14T05:36:15.289" v="390" actId="1038"/>
          <ac:spMkLst>
            <pc:docMk/>
            <pc:sldMk cId="598821393" sldId="2645"/>
            <ac:spMk id="98" creationId="{1C847190-AFF2-C8D6-2371-151608433C85}"/>
          </ac:spMkLst>
        </pc:spChg>
        <pc:spChg chg="mod">
          <ac:chgData name="Aurelien Domont" userId="6da7715ce44349b3" providerId="LiveId" clId="{1F031B4F-7A08-47B6-9BBE-3BE595172CA2}" dt="2023-02-14T05:36:15.289" v="390" actId="1038"/>
          <ac:spMkLst>
            <pc:docMk/>
            <pc:sldMk cId="598821393" sldId="2645"/>
            <ac:spMk id="99" creationId="{38461761-BDAE-1C55-0E26-1D0A66A8BD0C}"/>
          </ac:spMkLst>
        </pc:spChg>
        <pc:spChg chg="mod">
          <ac:chgData name="Aurelien Domont" userId="6da7715ce44349b3" providerId="LiveId" clId="{1F031B4F-7A08-47B6-9BBE-3BE595172CA2}" dt="2023-02-14T05:36:15.289" v="390" actId="1038"/>
          <ac:spMkLst>
            <pc:docMk/>
            <pc:sldMk cId="598821393" sldId="2645"/>
            <ac:spMk id="100" creationId="{AAA94F54-B3B7-D3F7-3268-3D1FE9FED9C4}"/>
          </ac:spMkLst>
        </pc:spChg>
        <pc:spChg chg="mod">
          <ac:chgData name="Aurelien Domont" userId="6da7715ce44349b3" providerId="LiveId" clId="{1F031B4F-7A08-47B6-9BBE-3BE595172CA2}" dt="2023-02-14T05:36:15.289" v="390" actId="1038"/>
          <ac:spMkLst>
            <pc:docMk/>
            <pc:sldMk cId="598821393" sldId="2645"/>
            <ac:spMk id="101" creationId="{5AE418B2-D4A3-0B14-0A96-47F3008DAD93}"/>
          </ac:spMkLst>
        </pc:spChg>
        <pc:spChg chg="mod">
          <ac:chgData name="Aurelien Domont" userId="6da7715ce44349b3" providerId="LiveId" clId="{1F031B4F-7A08-47B6-9BBE-3BE595172CA2}" dt="2023-02-14T05:36:15.289" v="390" actId="1038"/>
          <ac:spMkLst>
            <pc:docMk/>
            <pc:sldMk cId="598821393" sldId="2645"/>
            <ac:spMk id="103" creationId="{B541DE4E-D98E-0087-FBD6-18044894E25F}"/>
          </ac:spMkLst>
        </pc:spChg>
        <pc:spChg chg="mod">
          <ac:chgData name="Aurelien Domont" userId="6da7715ce44349b3" providerId="LiveId" clId="{1F031B4F-7A08-47B6-9BBE-3BE595172CA2}" dt="2023-02-14T05:36:15.289" v="390" actId="1038"/>
          <ac:spMkLst>
            <pc:docMk/>
            <pc:sldMk cId="598821393" sldId="2645"/>
            <ac:spMk id="104" creationId="{FEED0A6B-09CE-26D8-A51C-596736233415}"/>
          </ac:spMkLst>
        </pc:spChg>
        <pc:spChg chg="mod">
          <ac:chgData name="Aurelien Domont" userId="6da7715ce44349b3" providerId="LiveId" clId="{1F031B4F-7A08-47B6-9BBE-3BE595172CA2}" dt="2023-02-14T05:36:15.289" v="390" actId="1038"/>
          <ac:spMkLst>
            <pc:docMk/>
            <pc:sldMk cId="598821393" sldId="2645"/>
            <ac:spMk id="105" creationId="{90EE55FC-C188-FAF8-60C0-18CCBB099E8E}"/>
          </ac:spMkLst>
        </pc:spChg>
        <pc:spChg chg="mod">
          <ac:chgData name="Aurelien Domont" userId="6da7715ce44349b3" providerId="LiveId" clId="{1F031B4F-7A08-47B6-9BBE-3BE595172CA2}" dt="2023-02-14T05:36:15.289" v="390" actId="1038"/>
          <ac:spMkLst>
            <pc:docMk/>
            <pc:sldMk cId="598821393" sldId="2645"/>
            <ac:spMk id="106" creationId="{8B94C909-3BE6-D90C-C6C4-53C52BAA14DB}"/>
          </ac:spMkLst>
        </pc:spChg>
        <pc:spChg chg="mod">
          <ac:chgData name="Aurelien Domont" userId="6da7715ce44349b3" providerId="LiveId" clId="{1F031B4F-7A08-47B6-9BBE-3BE595172CA2}" dt="2023-02-14T05:36:15.289" v="390" actId="1038"/>
          <ac:spMkLst>
            <pc:docMk/>
            <pc:sldMk cId="598821393" sldId="2645"/>
            <ac:spMk id="107" creationId="{0286F6AC-BFFB-4B61-A0CA-4FA0EC663361}"/>
          </ac:spMkLst>
        </pc:spChg>
        <pc:spChg chg="mod">
          <ac:chgData name="Aurelien Domont" userId="6da7715ce44349b3" providerId="LiveId" clId="{1F031B4F-7A08-47B6-9BBE-3BE595172CA2}" dt="2023-02-14T05:36:15.289" v="390" actId="1038"/>
          <ac:spMkLst>
            <pc:docMk/>
            <pc:sldMk cId="598821393" sldId="2645"/>
            <ac:spMk id="108" creationId="{5342B0B6-12CB-B60C-D007-D6029B366889}"/>
          </ac:spMkLst>
        </pc:spChg>
        <pc:spChg chg="mod">
          <ac:chgData name="Aurelien Domont" userId="6da7715ce44349b3" providerId="LiveId" clId="{1F031B4F-7A08-47B6-9BBE-3BE595172CA2}" dt="2023-02-14T05:36:15.289" v="390" actId="1038"/>
          <ac:spMkLst>
            <pc:docMk/>
            <pc:sldMk cId="598821393" sldId="2645"/>
            <ac:spMk id="109" creationId="{7EF3B92C-9B96-EBB9-4D2E-9D3B712CB259}"/>
          </ac:spMkLst>
        </pc:spChg>
        <pc:spChg chg="mod">
          <ac:chgData name="Aurelien Domont" userId="6da7715ce44349b3" providerId="LiveId" clId="{1F031B4F-7A08-47B6-9BBE-3BE595172CA2}" dt="2023-02-14T05:36:15.289" v="390" actId="1038"/>
          <ac:spMkLst>
            <pc:docMk/>
            <pc:sldMk cId="598821393" sldId="2645"/>
            <ac:spMk id="110" creationId="{FDF13E8A-B24B-432E-0BA0-FFB234AAD314}"/>
          </ac:spMkLst>
        </pc:spChg>
        <pc:spChg chg="mod">
          <ac:chgData name="Aurelien Domont" userId="6da7715ce44349b3" providerId="LiveId" clId="{1F031B4F-7A08-47B6-9BBE-3BE595172CA2}" dt="2023-02-14T05:36:15.289" v="390" actId="1038"/>
          <ac:spMkLst>
            <pc:docMk/>
            <pc:sldMk cId="598821393" sldId="2645"/>
            <ac:spMk id="116" creationId="{94844D8D-7410-2D4F-1509-8EE01976A748}"/>
          </ac:spMkLst>
        </pc:spChg>
        <pc:spChg chg="mod">
          <ac:chgData name="Aurelien Domont" userId="6da7715ce44349b3" providerId="LiveId" clId="{1F031B4F-7A08-47B6-9BBE-3BE595172CA2}" dt="2023-02-14T05:36:15.289" v="390" actId="1038"/>
          <ac:spMkLst>
            <pc:docMk/>
            <pc:sldMk cId="598821393" sldId="2645"/>
            <ac:spMk id="117" creationId="{CB95E550-4576-A763-22E8-523CF87DC65B}"/>
          </ac:spMkLst>
        </pc:spChg>
        <pc:spChg chg="mod">
          <ac:chgData name="Aurelien Domont" userId="6da7715ce44349b3" providerId="LiveId" clId="{1F031B4F-7A08-47B6-9BBE-3BE595172CA2}" dt="2023-02-14T05:36:15.289" v="390" actId="1038"/>
          <ac:spMkLst>
            <pc:docMk/>
            <pc:sldMk cId="598821393" sldId="2645"/>
            <ac:spMk id="118" creationId="{16E90375-6E3B-167B-250D-EBBC97F3BF99}"/>
          </ac:spMkLst>
        </pc:spChg>
        <pc:spChg chg="mod">
          <ac:chgData name="Aurelien Domont" userId="6da7715ce44349b3" providerId="LiveId" clId="{1F031B4F-7A08-47B6-9BBE-3BE595172CA2}" dt="2023-02-14T05:36:15.289" v="390" actId="1038"/>
          <ac:spMkLst>
            <pc:docMk/>
            <pc:sldMk cId="598821393" sldId="2645"/>
            <ac:spMk id="119" creationId="{D159D0C9-45C1-D2EB-DDC3-A9ADAAEBF033}"/>
          </ac:spMkLst>
        </pc:spChg>
        <pc:spChg chg="mod">
          <ac:chgData name="Aurelien Domont" userId="6da7715ce44349b3" providerId="LiveId" clId="{1F031B4F-7A08-47B6-9BBE-3BE595172CA2}" dt="2023-02-14T05:36:15.289" v="390" actId="1038"/>
          <ac:spMkLst>
            <pc:docMk/>
            <pc:sldMk cId="598821393" sldId="2645"/>
            <ac:spMk id="120" creationId="{116A840E-FA09-DDF5-91A1-51F8C4E76223}"/>
          </ac:spMkLst>
        </pc:spChg>
        <pc:spChg chg="mod">
          <ac:chgData name="Aurelien Domont" userId="6da7715ce44349b3" providerId="LiveId" clId="{1F031B4F-7A08-47B6-9BBE-3BE595172CA2}" dt="2023-02-14T05:36:15.289" v="390" actId="1038"/>
          <ac:spMkLst>
            <pc:docMk/>
            <pc:sldMk cId="598821393" sldId="2645"/>
            <ac:spMk id="121" creationId="{B4F32F0D-A15B-2847-8A77-A23098B3EE62}"/>
          </ac:spMkLst>
        </pc:spChg>
        <pc:spChg chg="mod">
          <ac:chgData name="Aurelien Domont" userId="6da7715ce44349b3" providerId="LiveId" clId="{1F031B4F-7A08-47B6-9BBE-3BE595172CA2}" dt="2023-02-14T05:36:15.289" v="390" actId="1038"/>
          <ac:spMkLst>
            <pc:docMk/>
            <pc:sldMk cId="598821393" sldId="2645"/>
            <ac:spMk id="122" creationId="{3E95DE38-8293-AA3A-4461-EB6DB0F8800E}"/>
          </ac:spMkLst>
        </pc:spChg>
        <pc:spChg chg="mod">
          <ac:chgData name="Aurelien Domont" userId="6da7715ce44349b3" providerId="LiveId" clId="{1F031B4F-7A08-47B6-9BBE-3BE595172CA2}" dt="2023-02-14T05:36:15.289" v="390" actId="1038"/>
          <ac:spMkLst>
            <pc:docMk/>
            <pc:sldMk cId="598821393" sldId="2645"/>
            <ac:spMk id="123" creationId="{E9A0E128-4E8A-38B1-A73B-6630500740DA}"/>
          </ac:spMkLst>
        </pc:spChg>
        <pc:spChg chg="mod">
          <ac:chgData name="Aurelien Domont" userId="6da7715ce44349b3" providerId="LiveId" clId="{1F031B4F-7A08-47B6-9BBE-3BE595172CA2}" dt="2023-02-14T05:36:15.289" v="390" actId="1038"/>
          <ac:spMkLst>
            <pc:docMk/>
            <pc:sldMk cId="598821393" sldId="2645"/>
            <ac:spMk id="124" creationId="{44C75C17-9886-462D-80F0-CEDD00B78085}"/>
          </ac:spMkLst>
        </pc:spChg>
        <pc:spChg chg="mod">
          <ac:chgData name="Aurelien Domont" userId="6da7715ce44349b3" providerId="LiveId" clId="{1F031B4F-7A08-47B6-9BBE-3BE595172CA2}" dt="2023-02-14T05:36:15.289" v="390" actId="1038"/>
          <ac:spMkLst>
            <pc:docMk/>
            <pc:sldMk cId="598821393" sldId="2645"/>
            <ac:spMk id="125" creationId="{AD2B9A86-EFE1-85E5-1AFD-E5B6B02B350F}"/>
          </ac:spMkLst>
        </pc:spChg>
        <pc:spChg chg="mod">
          <ac:chgData name="Aurelien Domont" userId="6da7715ce44349b3" providerId="LiveId" clId="{1F031B4F-7A08-47B6-9BBE-3BE595172CA2}" dt="2023-02-14T05:36:15.289" v="390" actId="1038"/>
          <ac:spMkLst>
            <pc:docMk/>
            <pc:sldMk cId="598821393" sldId="2645"/>
            <ac:spMk id="126" creationId="{F6D89DCB-0DC6-388B-30BF-C531DE686D36}"/>
          </ac:spMkLst>
        </pc:spChg>
        <pc:spChg chg="mod">
          <ac:chgData name="Aurelien Domont" userId="6da7715ce44349b3" providerId="LiveId" clId="{1F031B4F-7A08-47B6-9BBE-3BE595172CA2}" dt="2023-02-14T05:36:15.289" v="390" actId="1038"/>
          <ac:spMkLst>
            <pc:docMk/>
            <pc:sldMk cId="598821393" sldId="2645"/>
            <ac:spMk id="127" creationId="{37A55C34-1D1C-6AE8-C807-90B7F147CC1C}"/>
          </ac:spMkLst>
        </pc:spChg>
        <pc:spChg chg="mod">
          <ac:chgData name="Aurelien Domont" userId="6da7715ce44349b3" providerId="LiveId" clId="{1F031B4F-7A08-47B6-9BBE-3BE595172CA2}" dt="2023-02-14T05:36:15.289" v="390" actId="1038"/>
          <ac:spMkLst>
            <pc:docMk/>
            <pc:sldMk cId="598821393" sldId="2645"/>
            <ac:spMk id="128" creationId="{71F181C4-A60F-054D-35CA-57A11EF2D2A7}"/>
          </ac:spMkLst>
        </pc:spChg>
        <pc:spChg chg="mod">
          <ac:chgData name="Aurelien Domont" userId="6da7715ce44349b3" providerId="LiveId" clId="{1F031B4F-7A08-47B6-9BBE-3BE595172CA2}" dt="2023-02-14T05:36:15.289" v="390" actId="1038"/>
          <ac:spMkLst>
            <pc:docMk/>
            <pc:sldMk cId="598821393" sldId="2645"/>
            <ac:spMk id="129" creationId="{44B9F961-4BFA-42A8-2AA0-D87821962CA7}"/>
          </ac:spMkLst>
        </pc:spChg>
        <pc:spChg chg="mod">
          <ac:chgData name="Aurelien Domont" userId="6da7715ce44349b3" providerId="LiveId" clId="{1F031B4F-7A08-47B6-9BBE-3BE595172CA2}" dt="2023-02-14T05:36:15.289" v="390" actId="1038"/>
          <ac:spMkLst>
            <pc:docMk/>
            <pc:sldMk cId="598821393" sldId="2645"/>
            <ac:spMk id="130" creationId="{EAED5566-A414-42AE-7CDD-ECE285C65C31}"/>
          </ac:spMkLst>
        </pc:spChg>
        <pc:spChg chg="mod">
          <ac:chgData name="Aurelien Domont" userId="6da7715ce44349b3" providerId="LiveId" clId="{1F031B4F-7A08-47B6-9BBE-3BE595172CA2}" dt="2023-02-14T05:36:15.289" v="390" actId="1038"/>
          <ac:spMkLst>
            <pc:docMk/>
            <pc:sldMk cId="598821393" sldId="2645"/>
            <ac:spMk id="131" creationId="{18CEB39A-CD3E-DF86-256A-97B73F3C51F3}"/>
          </ac:spMkLst>
        </pc:spChg>
        <pc:spChg chg="mod">
          <ac:chgData name="Aurelien Domont" userId="6da7715ce44349b3" providerId="LiveId" clId="{1F031B4F-7A08-47B6-9BBE-3BE595172CA2}" dt="2023-02-14T05:36:15.289" v="390" actId="1038"/>
          <ac:spMkLst>
            <pc:docMk/>
            <pc:sldMk cId="598821393" sldId="2645"/>
            <ac:spMk id="132" creationId="{ECFDB35C-2819-9149-5DA6-2C0CBE99C852}"/>
          </ac:spMkLst>
        </pc:spChg>
        <pc:spChg chg="mod">
          <ac:chgData name="Aurelien Domont" userId="6da7715ce44349b3" providerId="LiveId" clId="{1F031B4F-7A08-47B6-9BBE-3BE595172CA2}" dt="2023-02-14T05:36:15.289" v="390" actId="1038"/>
          <ac:spMkLst>
            <pc:docMk/>
            <pc:sldMk cId="598821393" sldId="2645"/>
            <ac:spMk id="133" creationId="{7627AA51-0E17-B418-5027-87FB7D815042}"/>
          </ac:spMkLst>
        </pc:spChg>
        <pc:spChg chg="mod">
          <ac:chgData name="Aurelien Domont" userId="6da7715ce44349b3" providerId="LiveId" clId="{1F031B4F-7A08-47B6-9BBE-3BE595172CA2}" dt="2023-02-14T05:36:15.289" v="390" actId="1038"/>
          <ac:spMkLst>
            <pc:docMk/>
            <pc:sldMk cId="598821393" sldId="2645"/>
            <ac:spMk id="134" creationId="{81A41BCD-021D-75D7-50BC-4BD0980A017F}"/>
          </ac:spMkLst>
        </pc:spChg>
        <pc:spChg chg="mod">
          <ac:chgData name="Aurelien Domont" userId="6da7715ce44349b3" providerId="LiveId" clId="{1F031B4F-7A08-47B6-9BBE-3BE595172CA2}" dt="2023-02-14T05:36:15.289" v="390" actId="1038"/>
          <ac:spMkLst>
            <pc:docMk/>
            <pc:sldMk cId="598821393" sldId="2645"/>
            <ac:spMk id="135" creationId="{2940884D-9B38-E64A-360D-2786B387CB7B}"/>
          </ac:spMkLst>
        </pc:spChg>
        <pc:spChg chg="mod">
          <ac:chgData name="Aurelien Domont" userId="6da7715ce44349b3" providerId="LiveId" clId="{1F031B4F-7A08-47B6-9BBE-3BE595172CA2}" dt="2023-02-14T05:36:15.289" v="390" actId="1038"/>
          <ac:spMkLst>
            <pc:docMk/>
            <pc:sldMk cId="598821393" sldId="2645"/>
            <ac:spMk id="139" creationId="{EF7E4E24-66E9-0D64-BB5C-42BE66D3788D}"/>
          </ac:spMkLst>
        </pc:spChg>
        <pc:spChg chg="mod">
          <ac:chgData name="Aurelien Domont" userId="6da7715ce44349b3" providerId="LiveId" clId="{1F031B4F-7A08-47B6-9BBE-3BE595172CA2}" dt="2023-02-14T05:36:15.289" v="390" actId="1038"/>
          <ac:spMkLst>
            <pc:docMk/>
            <pc:sldMk cId="598821393" sldId="2645"/>
            <ac:spMk id="140" creationId="{C89527D6-326F-C603-61B4-9D23D5EFDF9C}"/>
          </ac:spMkLst>
        </pc:spChg>
        <pc:spChg chg="mod">
          <ac:chgData name="Aurelien Domont" userId="6da7715ce44349b3" providerId="LiveId" clId="{1F031B4F-7A08-47B6-9BBE-3BE595172CA2}" dt="2023-02-14T05:36:15.289" v="390" actId="1038"/>
          <ac:spMkLst>
            <pc:docMk/>
            <pc:sldMk cId="598821393" sldId="2645"/>
            <ac:spMk id="141" creationId="{4A2C566C-4E4F-87D8-FF6C-FA65D9DC2203}"/>
          </ac:spMkLst>
        </pc:spChg>
        <pc:spChg chg="mod">
          <ac:chgData name="Aurelien Domont" userId="6da7715ce44349b3" providerId="LiveId" clId="{1F031B4F-7A08-47B6-9BBE-3BE595172CA2}" dt="2023-02-14T05:36:15.289" v="390" actId="1038"/>
          <ac:spMkLst>
            <pc:docMk/>
            <pc:sldMk cId="598821393" sldId="2645"/>
            <ac:spMk id="142" creationId="{262D96DF-0095-E520-A8D9-C7922927D66A}"/>
          </ac:spMkLst>
        </pc:spChg>
        <pc:spChg chg="mod">
          <ac:chgData name="Aurelien Domont" userId="6da7715ce44349b3" providerId="LiveId" clId="{1F031B4F-7A08-47B6-9BBE-3BE595172CA2}" dt="2023-02-14T05:36:15.289" v="390" actId="1038"/>
          <ac:spMkLst>
            <pc:docMk/>
            <pc:sldMk cId="598821393" sldId="2645"/>
            <ac:spMk id="143" creationId="{6CC7F4DD-BC8C-07B6-B024-851297C62E5B}"/>
          </ac:spMkLst>
        </pc:spChg>
        <pc:spChg chg="mod">
          <ac:chgData name="Aurelien Domont" userId="6da7715ce44349b3" providerId="LiveId" clId="{1F031B4F-7A08-47B6-9BBE-3BE595172CA2}" dt="2023-02-14T05:36:15.289" v="390" actId="1038"/>
          <ac:spMkLst>
            <pc:docMk/>
            <pc:sldMk cId="598821393" sldId="2645"/>
            <ac:spMk id="144" creationId="{18D864BA-2545-42CF-6E87-23E1DC77EDFE}"/>
          </ac:spMkLst>
        </pc:spChg>
        <pc:spChg chg="mod">
          <ac:chgData name="Aurelien Domont" userId="6da7715ce44349b3" providerId="LiveId" clId="{1F031B4F-7A08-47B6-9BBE-3BE595172CA2}" dt="2023-02-14T05:36:15.289" v="390" actId="1038"/>
          <ac:spMkLst>
            <pc:docMk/>
            <pc:sldMk cId="598821393" sldId="2645"/>
            <ac:spMk id="145" creationId="{4E33A49C-B402-2E92-0D41-E6F69E148F11}"/>
          </ac:spMkLst>
        </pc:spChg>
        <pc:spChg chg="mod">
          <ac:chgData name="Aurelien Domont" userId="6da7715ce44349b3" providerId="LiveId" clId="{1F031B4F-7A08-47B6-9BBE-3BE595172CA2}" dt="2023-02-14T05:36:15.289" v="390" actId="1038"/>
          <ac:spMkLst>
            <pc:docMk/>
            <pc:sldMk cId="598821393" sldId="2645"/>
            <ac:spMk id="146" creationId="{7BD285A4-01A5-517E-9066-297A44060BE9}"/>
          </ac:spMkLst>
        </pc:spChg>
        <pc:spChg chg="mod">
          <ac:chgData name="Aurelien Domont" userId="6da7715ce44349b3" providerId="LiveId" clId="{1F031B4F-7A08-47B6-9BBE-3BE595172CA2}" dt="2023-02-14T05:36:15.289" v="390" actId="1038"/>
          <ac:spMkLst>
            <pc:docMk/>
            <pc:sldMk cId="598821393" sldId="2645"/>
            <ac:spMk id="147" creationId="{DC603662-0D68-7A85-F417-2AB79E4DB3E5}"/>
          </ac:spMkLst>
        </pc:spChg>
        <pc:spChg chg="mod">
          <ac:chgData name="Aurelien Domont" userId="6da7715ce44349b3" providerId="LiveId" clId="{1F031B4F-7A08-47B6-9BBE-3BE595172CA2}" dt="2023-02-14T05:36:15.289" v="390" actId="1038"/>
          <ac:spMkLst>
            <pc:docMk/>
            <pc:sldMk cId="598821393" sldId="2645"/>
            <ac:spMk id="148" creationId="{28B3E40B-865D-C77E-FCA0-56EE4C16F2AC}"/>
          </ac:spMkLst>
        </pc:spChg>
        <pc:spChg chg="mod">
          <ac:chgData name="Aurelien Domont" userId="6da7715ce44349b3" providerId="LiveId" clId="{1F031B4F-7A08-47B6-9BBE-3BE595172CA2}" dt="2023-02-14T05:36:15.289" v="390" actId="1038"/>
          <ac:spMkLst>
            <pc:docMk/>
            <pc:sldMk cId="598821393" sldId="2645"/>
            <ac:spMk id="149" creationId="{D344F12A-EA8A-D13D-F754-5F2665FEEF3C}"/>
          </ac:spMkLst>
        </pc:spChg>
        <pc:spChg chg="mod">
          <ac:chgData name="Aurelien Domont" userId="6da7715ce44349b3" providerId="LiveId" clId="{1F031B4F-7A08-47B6-9BBE-3BE595172CA2}" dt="2023-02-14T05:36:15.289" v="390" actId="1038"/>
          <ac:spMkLst>
            <pc:docMk/>
            <pc:sldMk cId="598821393" sldId="2645"/>
            <ac:spMk id="150" creationId="{B0075B2C-2C61-0B3D-CE54-2F2F25144BC6}"/>
          </ac:spMkLst>
        </pc:spChg>
        <pc:spChg chg="mod">
          <ac:chgData name="Aurelien Domont" userId="6da7715ce44349b3" providerId="LiveId" clId="{1F031B4F-7A08-47B6-9BBE-3BE595172CA2}" dt="2023-02-14T05:36:15.289" v="390" actId="1038"/>
          <ac:spMkLst>
            <pc:docMk/>
            <pc:sldMk cId="598821393" sldId="2645"/>
            <ac:spMk id="152" creationId="{C7AFF0A3-26A3-A7C6-7A03-AADB0E64E366}"/>
          </ac:spMkLst>
        </pc:spChg>
        <pc:spChg chg="mod">
          <ac:chgData name="Aurelien Domont" userId="6da7715ce44349b3" providerId="LiveId" clId="{1F031B4F-7A08-47B6-9BBE-3BE595172CA2}" dt="2023-02-14T05:36:15.289" v="390" actId="1038"/>
          <ac:spMkLst>
            <pc:docMk/>
            <pc:sldMk cId="598821393" sldId="2645"/>
            <ac:spMk id="153" creationId="{F168E4FC-3963-00BE-9CF9-34F8392947D8}"/>
          </ac:spMkLst>
        </pc:spChg>
        <pc:spChg chg="mod">
          <ac:chgData name="Aurelien Domont" userId="6da7715ce44349b3" providerId="LiveId" clId="{1F031B4F-7A08-47B6-9BBE-3BE595172CA2}" dt="2023-02-14T05:36:15.289" v="390" actId="1038"/>
          <ac:spMkLst>
            <pc:docMk/>
            <pc:sldMk cId="598821393" sldId="2645"/>
            <ac:spMk id="154" creationId="{145FD90A-E7BD-B503-1B6B-BA89C31910F3}"/>
          </ac:spMkLst>
        </pc:spChg>
        <pc:spChg chg="mod">
          <ac:chgData name="Aurelien Domont" userId="6da7715ce44349b3" providerId="LiveId" clId="{1F031B4F-7A08-47B6-9BBE-3BE595172CA2}" dt="2023-02-14T05:36:15.289" v="390" actId="1038"/>
          <ac:spMkLst>
            <pc:docMk/>
            <pc:sldMk cId="598821393" sldId="2645"/>
            <ac:spMk id="155" creationId="{8696F877-9292-DBAA-A9B7-08F2F0812C74}"/>
          </ac:spMkLst>
        </pc:spChg>
        <pc:spChg chg="mod">
          <ac:chgData name="Aurelien Domont" userId="6da7715ce44349b3" providerId="LiveId" clId="{1F031B4F-7A08-47B6-9BBE-3BE595172CA2}" dt="2023-02-14T05:36:15.289" v="390" actId="1038"/>
          <ac:spMkLst>
            <pc:docMk/>
            <pc:sldMk cId="598821393" sldId="2645"/>
            <ac:spMk id="156" creationId="{9FC42F2B-CFDF-0259-34C2-FD25FF4CBB50}"/>
          </ac:spMkLst>
        </pc:spChg>
        <pc:spChg chg="mod">
          <ac:chgData name="Aurelien Domont" userId="6da7715ce44349b3" providerId="LiveId" clId="{1F031B4F-7A08-47B6-9BBE-3BE595172CA2}" dt="2023-02-14T05:36:15.289" v="390" actId="1038"/>
          <ac:spMkLst>
            <pc:docMk/>
            <pc:sldMk cId="598821393" sldId="2645"/>
            <ac:spMk id="157" creationId="{E45208E6-D0B5-D8AD-80F8-04E8F5329F85}"/>
          </ac:spMkLst>
        </pc:spChg>
        <pc:spChg chg="mod">
          <ac:chgData name="Aurelien Domont" userId="6da7715ce44349b3" providerId="LiveId" clId="{1F031B4F-7A08-47B6-9BBE-3BE595172CA2}" dt="2023-02-14T05:36:15.289" v="390" actId="1038"/>
          <ac:spMkLst>
            <pc:docMk/>
            <pc:sldMk cId="598821393" sldId="2645"/>
            <ac:spMk id="158" creationId="{37D23748-4C1C-222E-194A-B524855600DB}"/>
          </ac:spMkLst>
        </pc:spChg>
        <pc:spChg chg="mod">
          <ac:chgData name="Aurelien Domont" userId="6da7715ce44349b3" providerId="LiveId" clId="{1F031B4F-7A08-47B6-9BBE-3BE595172CA2}" dt="2023-02-14T05:36:15.289" v="390" actId="1038"/>
          <ac:spMkLst>
            <pc:docMk/>
            <pc:sldMk cId="598821393" sldId="2645"/>
            <ac:spMk id="159" creationId="{B8147E48-7FDA-B20C-0E4D-C591B6BADE9B}"/>
          </ac:spMkLst>
        </pc:spChg>
        <pc:spChg chg="mod">
          <ac:chgData name="Aurelien Domont" userId="6da7715ce44349b3" providerId="LiveId" clId="{1F031B4F-7A08-47B6-9BBE-3BE595172CA2}" dt="2023-02-14T05:36:15.289" v="390" actId="1038"/>
          <ac:spMkLst>
            <pc:docMk/>
            <pc:sldMk cId="598821393" sldId="2645"/>
            <ac:spMk id="160" creationId="{3444FABE-DBD9-9CDB-0F6B-F8376DFA1681}"/>
          </ac:spMkLst>
        </pc:spChg>
        <pc:spChg chg="mod">
          <ac:chgData name="Aurelien Domont" userId="6da7715ce44349b3" providerId="LiveId" clId="{1F031B4F-7A08-47B6-9BBE-3BE595172CA2}" dt="2023-02-14T05:36:15.289" v="390" actId="1038"/>
          <ac:spMkLst>
            <pc:docMk/>
            <pc:sldMk cId="598821393" sldId="2645"/>
            <ac:spMk id="161" creationId="{72046EB3-053E-F14C-7C01-E5C38CBCAC8D}"/>
          </ac:spMkLst>
        </pc:spChg>
        <pc:spChg chg="mod">
          <ac:chgData name="Aurelien Domont" userId="6da7715ce44349b3" providerId="LiveId" clId="{1F031B4F-7A08-47B6-9BBE-3BE595172CA2}" dt="2023-02-14T05:36:15.289" v="390" actId="1038"/>
          <ac:spMkLst>
            <pc:docMk/>
            <pc:sldMk cId="598821393" sldId="2645"/>
            <ac:spMk id="162" creationId="{256C0A49-64E1-A731-5459-EFB1C5797273}"/>
          </ac:spMkLst>
        </pc:spChg>
        <pc:spChg chg="mod">
          <ac:chgData name="Aurelien Domont" userId="6da7715ce44349b3" providerId="LiveId" clId="{1F031B4F-7A08-47B6-9BBE-3BE595172CA2}" dt="2023-02-14T05:36:15.289" v="390" actId="1038"/>
          <ac:spMkLst>
            <pc:docMk/>
            <pc:sldMk cId="598821393" sldId="2645"/>
            <ac:spMk id="163" creationId="{C60ACE80-78AE-6657-30B8-31BF0B30533D}"/>
          </ac:spMkLst>
        </pc:spChg>
        <pc:spChg chg="mod">
          <ac:chgData name="Aurelien Domont" userId="6da7715ce44349b3" providerId="LiveId" clId="{1F031B4F-7A08-47B6-9BBE-3BE595172CA2}" dt="2023-02-14T05:36:15.289" v="390" actId="1038"/>
          <ac:spMkLst>
            <pc:docMk/>
            <pc:sldMk cId="598821393" sldId="2645"/>
            <ac:spMk id="164" creationId="{437205F3-BEFC-88E0-7AAD-2C8CE82F94C4}"/>
          </ac:spMkLst>
        </pc:spChg>
        <pc:spChg chg="mod">
          <ac:chgData name="Aurelien Domont" userId="6da7715ce44349b3" providerId="LiveId" clId="{1F031B4F-7A08-47B6-9BBE-3BE595172CA2}" dt="2023-02-14T05:36:15.289" v="390" actId="1038"/>
          <ac:spMkLst>
            <pc:docMk/>
            <pc:sldMk cId="598821393" sldId="2645"/>
            <ac:spMk id="165" creationId="{4B2C1AAC-20F1-BB16-F8B4-B738850C66B1}"/>
          </ac:spMkLst>
        </pc:spChg>
        <pc:spChg chg="mod">
          <ac:chgData name="Aurelien Domont" userId="6da7715ce44349b3" providerId="LiveId" clId="{1F031B4F-7A08-47B6-9BBE-3BE595172CA2}" dt="2023-02-14T05:36:15.289" v="390" actId="1038"/>
          <ac:spMkLst>
            <pc:docMk/>
            <pc:sldMk cId="598821393" sldId="2645"/>
            <ac:spMk id="166" creationId="{E031911F-9758-5B55-90C2-44701591C1FC}"/>
          </ac:spMkLst>
        </pc:spChg>
        <pc:spChg chg="mod">
          <ac:chgData name="Aurelien Domont" userId="6da7715ce44349b3" providerId="LiveId" clId="{1F031B4F-7A08-47B6-9BBE-3BE595172CA2}" dt="2023-02-14T05:36:15.289" v="390" actId="1038"/>
          <ac:spMkLst>
            <pc:docMk/>
            <pc:sldMk cId="598821393" sldId="2645"/>
            <ac:spMk id="167" creationId="{B10A6B55-6E43-ABC4-4E6F-E0C8062F47EB}"/>
          </ac:spMkLst>
        </pc:spChg>
        <pc:spChg chg="mod">
          <ac:chgData name="Aurelien Domont" userId="6da7715ce44349b3" providerId="LiveId" clId="{1F031B4F-7A08-47B6-9BBE-3BE595172CA2}" dt="2023-02-14T05:36:15.289" v="390" actId="1038"/>
          <ac:spMkLst>
            <pc:docMk/>
            <pc:sldMk cId="598821393" sldId="2645"/>
            <ac:spMk id="168" creationId="{C8119918-426C-D2D2-9F65-4C26DA244AEA}"/>
          </ac:spMkLst>
        </pc:spChg>
        <pc:spChg chg="mod">
          <ac:chgData name="Aurelien Domont" userId="6da7715ce44349b3" providerId="LiveId" clId="{1F031B4F-7A08-47B6-9BBE-3BE595172CA2}" dt="2023-02-14T05:36:15.289" v="390" actId="1038"/>
          <ac:spMkLst>
            <pc:docMk/>
            <pc:sldMk cId="598821393" sldId="2645"/>
            <ac:spMk id="169" creationId="{D47AB618-0C7D-7C04-61D2-9C27D677C21D}"/>
          </ac:spMkLst>
        </pc:spChg>
        <pc:spChg chg="mod">
          <ac:chgData name="Aurelien Domont" userId="6da7715ce44349b3" providerId="LiveId" clId="{1F031B4F-7A08-47B6-9BBE-3BE595172CA2}" dt="2023-02-14T05:36:15.289" v="390" actId="1038"/>
          <ac:spMkLst>
            <pc:docMk/>
            <pc:sldMk cId="598821393" sldId="2645"/>
            <ac:spMk id="170" creationId="{B4B60528-BC5F-24E9-ECF8-D749127FD7B6}"/>
          </ac:spMkLst>
        </pc:spChg>
        <pc:spChg chg="mod">
          <ac:chgData name="Aurelien Domont" userId="6da7715ce44349b3" providerId="LiveId" clId="{1F031B4F-7A08-47B6-9BBE-3BE595172CA2}" dt="2023-02-14T05:36:15.289" v="390" actId="1038"/>
          <ac:spMkLst>
            <pc:docMk/>
            <pc:sldMk cId="598821393" sldId="2645"/>
            <ac:spMk id="171" creationId="{B1599690-4A65-35C8-072A-B4E908BE6AC0}"/>
          </ac:spMkLst>
        </pc:spChg>
        <pc:spChg chg="mod">
          <ac:chgData name="Aurelien Domont" userId="6da7715ce44349b3" providerId="LiveId" clId="{1F031B4F-7A08-47B6-9BBE-3BE595172CA2}" dt="2023-02-14T05:36:15.289" v="390" actId="1038"/>
          <ac:spMkLst>
            <pc:docMk/>
            <pc:sldMk cId="598821393" sldId="2645"/>
            <ac:spMk id="172" creationId="{44E03D59-5C86-58BC-E41F-E215378AF7A8}"/>
          </ac:spMkLst>
        </pc:spChg>
        <pc:spChg chg="mod">
          <ac:chgData name="Aurelien Domont" userId="6da7715ce44349b3" providerId="LiveId" clId="{1F031B4F-7A08-47B6-9BBE-3BE595172CA2}" dt="2023-02-14T05:36:15.289" v="390" actId="1038"/>
          <ac:spMkLst>
            <pc:docMk/>
            <pc:sldMk cId="598821393" sldId="2645"/>
            <ac:spMk id="173" creationId="{8E4B6E36-CA5B-8BEB-5A17-6BC2E5338DB8}"/>
          </ac:spMkLst>
        </pc:spChg>
        <pc:spChg chg="mod">
          <ac:chgData name="Aurelien Domont" userId="6da7715ce44349b3" providerId="LiveId" clId="{1F031B4F-7A08-47B6-9BBE-3BE595172CA2}" dt="2023-02-14T05:36:15.289" v="390" actId="1038"/>
          <ac:spMkLst>
            <pc:docMk/>
            <pc:sldMk cId="598821393" sldId="2645"/>
            <ac:spMk id="174" creationId="{D77157AD-EBFE-221F-CE3D-AA4D65504FA4}"/>
          </ac:spMkLst>
        </pc:spChg>
        <pc:spChg chg="mod">
          <ac:chgData name="Aurelien Domont" userId="6da7715ce44349b3" providerId="LiveId" clId="{1F031B4F-7A08-47B6-9BBE-3BE595172CA2}" dt="2023-02-14T05:36:15.289" v="390" actId="1038"/>
          <ac:spMkLst>
            <pc:docMk/>
            <pc:sldMk cId="598821393" sldId="2645"/>
            <ac:spMk id="175" creationId="{CA39F185-0885-647E-8B77-567B9FEBB69E}"/>
          </ac:spMkLst>
        </pc:spChg>
        <pc:grpChg chg="mod">
          <ac:chgData name="Aurelien Domont" userId="6da7715ce44349b3" providerId="LiveId" clId="{1F031B4F-7A08-47B6-9BBE-3BE595172CA2}" dt="2023-02-14T05:36:15.289" v="390" actId="1038"/>
          <ac:grpSpMkLst>
            <pc:docMk/>
            <pc:sldMk cId="598821393" sldId="2645"/>
            <ac:grpSpMk id="7" creationId="{AD749A54-973D-23CF-0791-207B096710A6}"/>
          </ac:grpSpMkLst>
        </pc:grpChg>
        <pc:grpChg chg="mod">
          <ac:chgData name="Aurelien Domont" userId="6da7715ce44349b3" providerId="LiveId" clId="{1F031B4F-7A08-47B6-9BBE-3BE595172CA2}" dt="2023-02-14T05:36:15.289" v="390" actId="1038"/>
          <ac:grpSpMkLst>
            <pc:docMk/>
            <pc:sldMk cId="598821393" sldId="2645"/>
            <ac:grpSpMk id="38" creationId="{42FAB24F-1897-E688-619A-2B5ED64C6EFB}"/>
          </ac:grpSpMkLst>
        </pc:grpChg>
        <pc:grpChg chg="mod">
          <ac:chgData name="Aurelien Domont" userId="6da7715ce44349b3" providerId="LiveId" clId="{1F031B4F-7A08-47B6-9BBE-3BE595172CA2}" dt="2023-02-14T05:36:15.289" v="390" actId="1038"/>
          <ac:grpSpMkLst>
            <pc:docMk/>
            <pc:sldMk cId="598821393" sldId="2645"/>
            <ac:grpSpMk id="44" creationId="{423E3D93-B93F-F8B5-E9F9-428F2641F87A}"/>
          </ac:grpSpMkLst>
        </pc:grpChg>
        <pc:grpChg chg="mod">
          <ac:chgData name="Aurelien Domont" userId="6da7715ce44349b3" providerId="LiveId" clId="{1F031B4F-7A08-47B6-9BBE-3BE595172CA2}" dt="2023-02-14T05:36:15.289" v="390" actId="1038"/>
          <ac:grpSpMkLst>
            <pc:docMk/>
            <pc:sldMk cId="598821393" sldId="2645"/>
            <ac:grpSpMk id="57" creationId="{A5C03B9B-37A2-2E6E-71D3-AC890A4A2BA4}"/>
          </ac:grpSpMkLst>
        </pc:grpChg>
        <pc:grpChg chg="mod">
          <ac:chgData name="Aurelien Domont" userId="6da7715ce44349b3" providerId="LiveId" clId="{1F031B4F-7A08-47B6-9BBE-3BE595172CA2}" dt="2023-02-14T05:36:15.289" v="390" actId="1038"/>
          <ac:grpSpMkLst>
            <pc:docMk/>
            <pc:sldMk cId="598821393" sldId="2645"/>
            <ac:grpSpMk id="58" creationId="{614D263C-C7F1-AC94-5EAF-1A8AD626B390}"/>
          </ac:grpSpMkLst>
        </pc:grpChg>
        <pc:grpChg chg="mod">
          <ac:chgData name="Aurelien Domont" userId="6da7715ce44349b3" providerId="LiveId" clId="{1F031B4F-7A08-47B6-9BBE-3BE595172CA2}" dt="2023-02-14T05:36:15.289" v="390" actId="1038"/>
          <ac:grpSpMkLst>
            <pc:docMk/>
            <pc:sldMk cId="598821393" sldId="2645"/>
            <ac:grpSpMk id="64" creationId="{91121257-E494-89D6-9EEF-2AF46BAD9B63}"/>
          </ac:grpSpMkLst>
        </pc:grpChg>
        <pc:grpChg chg="mod">
          <ac:chgData name="Aurelien Domont" userId="6da7715ce44349b3" providerId="LiveId" clId="{1F031B4F-7A08-47B6-9BBE-3BE595172CA2}" dt="2023-02-14T05:36:15.289" v="390" actId="1038"/>
          <ac:grpSpMkLst>
            <pc:docMk/>
            <pc:sldMk cId="598821393" sldId="2645"/>
            <ac:grpSpMk id="97" creationId="{8B12A288-9195-B8FF-4A90-042E359560F1}"/>
          </ac:grpSpMkLst>
        </pc:grpChg>
        <pc:grpChg chg="mod">
          <ac:chgData name="Aurelien Domont" userId="6da7715ce44349b3" providerId="LiveId" clId="{1F031B4F-7A08-47B6-9BBE-3BE595172CA2}" dt="2023-02-14T05:36:15.289" v="390" actId="1038"/>
          <ac:grpSpMkLst>
            <pc:docMk/>
            <pc:sldMk cId="598821393" sldId="2645"/>
            <ac:grpSpMk id="102" creationId="{C717B3DA-A182-4DA3-2C16-D2E91B00E0FB}"/>
          </ac:grpSpMkLst>
        </pc:grpChg>
        <pc:grpChg chg="mod">
          <ac:chgData name="Aurelien Domont" userId="6da7715ce44349b3" providerId="LiveId" clId="{1F031B4F-7A08-47B6-9BBE-3BE595172CA2}" dt="2023-02-14T05:36:15.289" v="390" actId="1038"/>
          <ac:grpSpMkLst>
            <pc:docMk/>
            <pc:sldMk cId="598821393" sldId="2645"/>
            <ac:grpSpMk id="115" creationId="{9AADE41B-B203-8E26-96EC-157FE059ED5E}"/>
          </ac:grpSpMkLst>
        </pc:grpChg>
        <pc:grpChg chg="mod">
          <ac:chgData name="Aurelien Domont" userId="6da7715ce44349b3" providerId="LiveId" clId="{1F031B4F-7A08-47B6-9BBE-3BE595172CA2}" dt="2023-02-14T05:36:15.289" v="390" actId="1038"/>
          <ac:grpSpMkLst>
            <pc:docMk/>
            <pc:sldMk cId="598821393" sldId="2645"/>
            <ac:grpSpMk id="138" creationId="{85588942-D5B0-84D2-9484-5DD429D3BF87}"/>
          </ac:grpSpMkLst>
        </pc:grpChg>
        <pc:grpChg chg="mod">
          <ac:chgData name="Aurelien Domont" userId="6da7715ce44349b3" providerId="LiveId" clId="{1F031B4F-7A08-47B6-9BBE-3BE595172CA2}" dt="2023-02-14T05:36:15.289" v="390" actId="1038"/>
          <ac:grpSpMkLst>
            <pc:docMk/>
            <pc:sldMk cId="598821393" sldId="2645"/>
            <ac:grpSpMk id="151" creationId="{22AE4F39-50A0-FA50-1BDA-CF5C69BA451A}"/>
          </ac:grpSpMkLst>
        </pc:grpChg>
        <pc:picChg chg="mod">
          <ac:chgData name="Aurelien Domont" userId="6da7715ce44349b3" providerId="LiveId" clId="{1F031B4F-7A08-47B6-9BBE-3BE595172CA2}" dt="2023-02-14T05:36:15.289" v="390" actId="1038"/>
          <ac:picMkLst>
            <pc:docMk/>
            <pc:sldMk cId="598821393" sldId="2645"/>
            <ac:picMk id="112" creationId="{4A910353-37C2-275D-1A89-2270AADE2A2E}"/>
          </ac:picMkLst>
        </pc:picChg>
        <pc:picChg chg="mod">
          <ac:chgData name="Aurelien Domont" userId="6da7715ce44349b3" providerId="LiveId" clId="{1F031B4F-7A08-47B6-9BBE-3BE595172CA2}" dt="2023-02-14T05:36:15.289" v="390" actId="1038"/>
          <ac:picMkLst>
            <pc:docMk/>
            <pc:sldMk cId="598821393" sldId="2645"/>
            <ac:picMk id="114" creationId="{0715EFEE-4F8C-0040-7697-0338E551AF70}"/>
          </ac:picMkLst>
        </pc:picChg>
        <pc:picChg chg="mod">
          <ac:chgData name="Aurelien Domont" userId="6da7715ce44349b3" providerId="LiveId" clId="{1F031B4F-7A08-47B6-9BBE-3BE595172CA2}" dt="2023-02-14T05:36:15.289" v="390" actId="1038"/>
          <ac:picMkLst>
            <pc:docMk/>
            <pc:sldMk cId="598821393" sldId="2645"/>
            <ac:picMk id="177" creationId="{69E97C75-FE4E-CCFC-0097-586A7AE66D74}"/>
          </ac:picMkLst>
        </pc:picChg>
      </pc:sldChg>
      <pc:sldChg chg="addSp modSp add del setBg">
        <pc:chgData name="Aurelien Domont" userId="6da7715ce44349b3" providerId="LiveId" clId="{1F031B4F-7A08-47B6-9BBE-3BE595172CA2}" dt="2023-02-15T23:58:43.902" v="1534"/>
        <pc:sldMkLst>
          <pc:docMk/>
          <pc:sldMk cId="3674217527" sldId="2645"/>
        </pc:sldMkLst>
        <pc:spChg chg="add mod">
          <ac:chgData name="Aurelien Domont" userId="6da7715ce44349b3" providerId="LiveId" clId="{1F031B4F-7A08-47B6-9BBE-3BE595172CA2}" dt="2023-02-15T23:58:43.902" v="1534"/>
          <ac:spMkLst>
            <pc:docMk/>
            <pc:sldMk cId="3674217527" sldId="2645"/>
            <ac:spMk id="2" creationId="{211F397E-A500-07A0-CB4B-5A267A501579}"/>
          </ac:spMkLst>
        </pc:spChg>
      </pc:sldChg>
      <pc:sldChg chg="addSp modSp">
        <pc:chgData name="Aurelien Domont" userId="6da7715ce44349b3" providerId="LiveId" clId="{1F031B4F-7A08-47B6-9BBE-3BE595172CA2}" dt="2023-02-14T06:08:09.171" v="430"/>
        <pc:sldMkLst>
          <pc:docMk/>
          <pc:sldMk cId="2088006258" sldId="2646"/>
        </pc:sldMkLst>
        <pc:spChg chg="add mod">
          <ac:chgData name="Aurelien Domont" userId="6da7715ce44349b3" providerId="LiveId" clId="{1F031B4F-7A08-47B6-9BBE-3BE595172CA2}" dt="2023-02-14T06:08:09.171" v="430"/>
          <ac:spMkLst>
            <pc:docMk/>
            <pc:sldMk cId="2088006258" sldId="2646"/>
            <ac:spMk id="2" creationId="{535FC1D7-D699-EB5C-EFBD-C0F8EAAD2F27}"/>
          </ac:spMkLst>
        </pc:spChg>
      </pc:sldChg>
      <pc:sldChg chg="addSp delSp modSp mod">
        <pc:chgData name="Aurelien Domont" userId="6da7715ce44349b3" providerId="LiveId" clId="{1F031B4F-7A08-47B6-9BBE-3BE595172CA2}" dt="2023-02-14T06:08:30.904" v="434"/>
        <pc:sldMkLst>
          <pc:docMk/>
          <pc:sldMk cId="297724604" sldId="2647"/>
        </pc:sldMkLst>
        <pc:spChg chg="del">
          <ac:chgData name="Aurelien Domont" userId="6da7715ce44349b3" providerId="LiveId" clId="{1F031B4F-7A08-47B6-9BBE-3BE595172CA2}" dt="2023-02-14T06:08:30.235" v="433" actId="478"/>
          <ac:spMkLst>
            <pc:docMk/>
            <pc:sldMk cId="297724604" sldId="2647"/>
            <ac:spMk id="3" creationId="{CE2529A3-BA97-486F-9E02-8DFAAA7D8D38}"/>
          </ac:spMkLst>
        </pc:spChg>
        <pc:spChg chg="add mod">
          <ac:chgData name="Aurelien Domont" userId="6da7715ce44349b3" providerId="LiveId" clId="{1F031B4F-7A08-47B6-9BBE-3BE595172CA2}" dt="2023-02-14T06:08:30.904" v="434"/>
          <ac:spMkLst>
            <pc:docMk/>
            <pc:sldMk cId="297724604" sldId="2647"/>
            <ac:spMk id="16" creationId="{BD0FE656-D9F9-5998-41BE-8625E8F2A6B2}"/>
          </ac:spMkLst>
        </pc:spChg>
      </pc:sldChg>
      <pc:sldChg chg="modSp mod">
        <pc:chgData name="Aurelien Domont" userId="6da7715ce44349b3" providerId="LiveId" clId="{1F031B4F-7A08-47B6-9BBE-3BE595172CA2}" dt="2023-02-14T05:48:17.374" v="423" actId="1037"/>
        <pc:sldMkLst>
          <pc:docMk/>
          <pc:sldMk cId="893063664" sldId="2648"/>
        </pc:sldMkLst>
        <pc:grpChg chg="mod">
          <ac:chgData name="Aurelien Domont" userId="6da7715ce44349b3" providerId="LiveId" clId="{1F031B4F-7A08-47B6-9BBE-3BE595172CA2}" dt="2023-02-14T05:48:11.792" v="421" actId="1037"/>
          <ac:grpSpMkLst>
            <pc:docMk/>
            <pc:sldMk cId="893063664" sldId="2648"/>
            <ac:grpSpMk id="9" creationId="{BC1D4DA2-5F52-BEF3-99DB-B3E38EDA621A}"/>
          </ac:grpSpMkLst>
        </pc:grpChg>
        <pc:grpChg chg="mod">
          <ac:chgData name="Aurelien Domont" userId="6da7715ce44349b3" providerId="LiveId" clId="{1F031B4F-7A08-47B6-9BBE-3BE595172CA2}" dt="2023-02-14T05:48:11.792" v="421" actId="1037"/>
          <ac:grpSpMkLst>
            <pc:docMk/>
            <pc:sldMk cId="893063664" sldId="2648"/>
            <ac:grpSpMk id="10" creationId="{B8322D2D-101D-5505-5164-EDA4C97F536E}"/>
          </ac:grpSpMkLst>
        </pc:grpChg>
        <pc:grpChg chg="mod">
          <ac:chgData name="Aurelien Domont" userId="6da7715ce44349b3" providerId="LiveId" clId="{1F031B4F-7A08-47B6-9BBE-3BE595172CA2}" dt="2023-02-14T05:48:17.374" v="423" actId="1037"/>
          <ac:grpSpMkLst>
            <pc:docMk/>
            <pc:sldMk cId="893063664" sldId="2648"/>
            <ac:grpSpMk id="12" creationId="{B1B53B26-179C-CAC4-4E00-E6B6B2A36A77}"/>
          </ac:grpSpMkLst>
        </pc:grpChg>
        <pc:grpChg chg="mod">
          <ac:chgData name="Aurelien Domont" userId="6da7715ce44349b3" providerId="LiveId" clId="{1F031B4F-7A08-47B6-9BBE-3BE595172CA2}" dt="2023-02-14T05:48:17.374" v="423" actId="1037"/>
          <ac:grpSpMkLst>
            <pc:docMk/>
            <pc:sldMk cId="893063664" sldId="2648"/>
            <ac:grpSpMk id="17" creationId="{90706AB3-8E5C-C2DF-F21E-D7F37EDA9804}"/>
          </ac:grpSpMkLst>
        </pc:grpChg>
        <pc:grpChg chg="mod">
          <ac:chgData name="Aurelien Domont" userId="6da7715ce44349b3" providerId="LiveId" clId="{1F031B4F-7A08-47B6-9BBE-3BE595172CA2}" dt="2023-02-14T05:48:17.374" v="423" actId="1037"/>
          <ac:grpSpMkLst>
            <pc:docMk/>
            <pc:sldMk cId="893063664" sldId="2648"/>
            <ac:grpSpMk id="21" creationId="{0119CB0B-36EB-86F6-D7A3-07438D4DC3B8}"/>
          </ac:grpSpMkLst>
        </pc:grpChg>
        <pc:grpChg chg="mod">
          <ac:chgData name="Aurelien Domont" userId="6da7715ce44349b3" providerId="LiveId" clId="{1F031B4F-7A08-47B6-9BBE-3BE595172CA2}" dt="2023-02-14T05:48:11.792" v="421" actId="1037"/>
          <ac:grpSpMkLst>
            <pc:docMk/>
            <pc:sldMk cId="893063664" sldId="2648"/>
            <ac:grpSpMk id="22" creationId="{1D1B3BAD-C30A-CA7D-3F45-7BF8E63F1641}"/>
          </ac:grpSpMkLst>
        </pc:grpChg>
      </pc:sldChg>
      <pc:sldChg chg="addSp delSp modSp mod">
        <pc:chgData name="Aurelien Domont" userId="6da7715ce44349b3" providerId="LiveId" clId="{1F031B4F-7A08-47B6-9BBE-3BE595172CA2}" dt="2023-02-14T06:08:40.710" v="436"/>
        <pc:sldMkLst>
          <pc:docMk/>
          <pc:sldMk cId="1304110916" sldId="2652"/>
        </pc:sldMkLst>
        <pc:spChg chg="del">
          <ac:chgData name="Aurelien Domont" userId="6da7715ce44349b3" providerId="LiveId" clId="{1F031B4F-7A08-47B6-9BBE-3BE595172CA2}" dt="2023-02-14T06:08:39.729" v="435" actId="478"/>
          <ac:spMkLst>
            <pc:docMk/>
            <pc:sldMk cId="1304110916" sldId="2652"/>
            <ac:spMk id="3" creationId="{CE2529A3-BA97-486F-9E02-8DFAAA7D8D38}"/>
          </ac:spMkLst>
        </pc:spChg>
        <pc:spChg chg="mod">
          <ac:chgData name="Aurelien Domont" userId="6da7715ce44349b3" providerId="LiveId" clId="{1F031B4F-7A08-47B6-9BBE-3BE595172CA2}" dt="2023-02-14T06:06:29.797" v="426"/>
          <ac:spMkLst>
            <pc:docMk/>
            <pc:sldMk cId="1304110916" sldId="2652"/>
            <ac:spMk id="4" creationId="{62B59BD2-7739-0D4C-EF00-ADC9996BB857}"/>
          </ac:spMkLst>
        </pc:spChg>
        <pc:spChg chg="mod">
          <ac:chgData name="Aurelien Domont" userId="6da7715ce44349b3" providerId="LiveId" clId="{1F031B4F-7A08-47B6-9BBE-3BE595172CA2}" dt="2023-02-14T06:06:37.578" v="427"/>
          <ac:spMkLst>
            <pc:docMk/>
            <pc:sldMk cId="1304110916" sldId="2652"/>
            <ac:spMk id="5" creationId="{045302F6-2FAF-9F91-DAD1-FECF26D9E92B}"/>
          </ac:spMkLst>
        </pc:spChg>
        <pc:spChg chg="mod">
          <ac:chgData name="Aurelien Domont" userId="6da7715ce44349b3" providerId="LiveId" clId="{1F031B4F-7A08-47B6-9BBE-3BE595172CA2}" dt="2023-02-14T06:06:41.874" v="428"/>
          <ac:spMkLst>
            <pc:docMk/>
            <pc:sldMk cId="1304110916" sldId="2652"/>
            <ac:spMk id="6" creationId="{BDF5D36B-3545-3ECA-87F3-4F1FC65B6A69}"/>
          </ac:spMkLst>
        </pc:spChg>
        <pc:spChg chg="add mod">
          <ac:chgData name="Aurelien Domont" userId="6da7715ce44349b3" providerId="LiveId" clId="{1F031B4F-7A08-47B6-9BBE-3BE595172CA2}" dt="2023-02-14T06:08:40.710" v="436"/>
          <ac:spMkLst>
            <pc:docMk/>
            <pc:sldMk cId="1304110916" sldId="2652"/>
            <ac:spMk id="9" creationId="{51BD09D1-9561-AD66-15BC-3931A6CF944D}"/>
          </ac:spMkLst>
        </pc:spChg>
        <pc:spChg chg="mod">
          <ac:chgData name="Aurelien Domont" userId="6da7715ce44349b3" providerId="LiveId" clId="{1F031B4F-7A08-47B6-9BBE-3BE595172CA2}" dt="2023-02-14T06:06:45.322" v="429"/>
          <ac:spMkLst>
            <pc:docMk/>
            <pc:sldMk cId="1304110916" sldId="2652"/>
            <ac:spMk id="12" creationId="{3D13B60A-4A06-3B83-CCFB-5AFC21F2BB9D}"/>
          </ac:spMkLst>
        </pc:spChg>
      </pc:sldChg>
      <pc:sldChg chg="addSp delSp modSp mod">
        <pc:chgData name="Aurelien Domont" userId="6da7715ce44349b3" providerId="LiveId" clId="{1F031B4F-7A08-47B6-9BBE-3BE595172CA2}" dt="2023-02-14T06:08:21.478" v="432"/>
        <pc:sldMkLst>
          <pc:docMk/>
          <pc:sldMk cId="2574950337" sldId="2653"/>
        </pc:sldMkLst>
        <pc:spChg chg="del">
          <ac:chgData name="Aurelien Domont" userId="6da7715ce44349b3" providerId="LiveId" clId="{1F031B4F-7A08-47B6-9BBE-3BE595172CA2}" dt="2023-02-14T06:08:20.245" v="431" actId="478"/>
          <ac:spMkLst>
            <pc:docMk/>
            <pc:sldMk cId="2574950337" sldId="2653"/>
            <ac:spMk id="3" creationId="{CE2529A3-BA97-486F-9E02-8DFAAA7D8D38}"/>
          </ac:spMkLst>
        </pc:spChg>
        <pc:spChg chg="mod">
          <ac:chgData name="Aurelien Domont" userId="6da7715ce44349b3" providerId="LiveId" clId="{1F031B4F-7A08-47B6-9BBE-3BE595172CA2}" dt="2023-02-14T05:59:43.846" v="425" actId="20577"/>
          <ac:spMkLst>
            <pc:docMk/>
            <pc:sldMk cId="2574950337" sldId="2653"/>
            <ac:spMk id="6" creationId="{682A91C2-9083-1739-5003-C221D4CA607C}"/>
          </ac:spMkLst>
        </pc:spChg>
        <pc:spChg chg="add mod">
          <ac:chgData name="Aurelien Domont" userId="6da7715ce44349b3" providerId="LiveId" clId="{1F031B4F-7A08-47B6-9BBE-3BE595172CA2}" dt="2023-02-14T06:08:21.478" v="432"/>
          <ac:spMkLst>
            <pc:docMk/>
            <pc:sldMk cId="2574950337" sldId="2653"/>
            <ac:spMk id="9" creationId="{2D0775A0-FDFA-7B27-0F84-7E7D3C940228}"/>
          </ac:spMkLst>
        </pc:spChg>
      </pc:sldChg>
      <pc:sldChg chg="del">
        <pc:chgData name="Aurelien Domont" userId="6da7715ce44349b3" providerId="LiveId" clId="{1F031B4F-7A08-47B6-9BBE-3BE595172CA2}" dt="2023-02-14T05:19:54.644" v="330" actId="47"/>
        <pc:sldMkLst>
          <pc:docMk/>
          <pc:sldMk cId="2328843694" sldId="2654"/>
        </pc:sldMkLst>
      </pc:sldChg>
      <pc:sldChg chg="del">
        <pc:chgData name="Aurelien Domont" userId="6da7715ce44349b3" providerId="LiveId" clId="{1F031B4F-7A08-47B6-9BBE-3BE595172CA2}" dt="2023-02-15T23:28:19.826" v="1109" actId="47"/>
        <pc:sldMkLst>
          <pc:docMk/>
          <pc:sldMk cId="3524517363" sldId="2655"/>
        </pc:sldMkLst>
      </pc:sldChg>
      <pc:sldChg chg="modSp mod">
        <pc:chgData name="Aurelien Domont" userId="6da7715ce44349b3" providerId="LiveId" clId="{1F031B4F-7A08-47B6-9BBE-3BE595172CA2}" dt="2023-02-15T23:43:47.735" v="1376" actId="6549"/>
        <pc:sldMkLst>
          <pc:docMk/>
          <pc:sldMk cId="1153674" sldId="2656"/>
        </pc:sldMkLst>
        <pc:spChg chg="mod">
          <ac:chgData name="Aurelien Domont" userId="6da7715ce44349b3" providerId="LiveId" clId="{1F031B4F-7A08-47B6-9BBE-3BE595172CA2}" dt="2023-02-15T23:43:47.735" v="1376" actId="6549"/>
          <ac:spMkLst>
            <pc:docMk/>
            <pc:sldMk cId="1153674" sldId="2656"/>
            <ac:spMk id="6" creationId="{925DDD0A-01CE-7FB4-14EA-5618B9C4E995}"/>
          </ac:spMkLst>
        </pc:spChg>
        <pc:spChg chg="mod">
          <ac:chgData name="Aurelien Domont" userId="6da7715ce44349b3" providerId="LiveId" clId="{1F031B4F-7A08-47B6-9BBE-3BE595172CA2}" dt="2023-02-15T23:39:21.206" v="1271" actId="20577"/>
          <ac:spMkLst>
            <pc:docMk/>
            <pc:sldMk cId="1153674" sldId="2656"/>
            <ac:spMk id="16" creationId="{6C2BB713-9637-4B9B-938F-E9768876782A}"/>
          </ac:spMkLst>
        </pc:spChg>
      </pc:sldChg>
      <pc:sldChg chg="modSp del mod">
        <pc:chgData name="Aurelien Domont" userId="6da7715ce44349b3" providerId="LiveId" clId="{1F031B4F-7A08-47B6-9BBE-3BE595172CA2}" dt="2023-02-15T23:39:17.005" v="1265" actId="47"/>
        <pc:sldMkLst>
          <pc:docMk/>
          <pc:sldMk cId="2273751800" sldId="2657"/>
        </pc:sldMkLst>
        <pc:spChg chg="mod">
          <ac:chgData name="Aurelien Domont" userId="6da7715ce44349b3" providerId="LiveId" clId="{1F031B4F-7A08-47B6-9BBE-3BE595172CA2}" dt="2023-02-14T05:29:32.327" v="356" actId="20577"/>
          <ac:spMkLst>
            <pc:docMk/>
            <pc:sldMk cId="2273751800" sldId="2657"/>
            <ac:spMk id="6" creationId="{925DDD0A-01CE-7FB4-14EA-5618B9C4E995}"/>
          </ac:spMkLst>
        </pc:spChg>
      </pc:sldChg>
      <pc:sldChg chg="del">
        <pc:chgData name="Aurelien Domont" userId="6da7715ce44349b3" providerId="LiveId" clId="{1F031B4F-7A08-47B6-9BBE-3BE595172CA2}" dt="2023-02-15T23:31:59.894" v="1137" actId="47"/>
        <pc:sldMkLst>
          <pc:docMk/>
          <pc:sldMk cId="3336655573" sldId="2658"/>
        </pc:sldMkLst>
      </pc:sldChg>
      <pc:sldChg chg="del">
        <pc:chgData name="Aurelien Domont" userId="6da7715ce44349b3" providerId="LiveId" clId="{1F031B4F-7A08-47B6-9BBE-3BE595172CA2}" dt="2023-02-15T23:45:19.892" v="1387" actId="47"/>
        <pc:sldMkLst>
          <pc:docMk/>
          <pc:sldMk cId="934148026" sldId="2659"/>
        </pc:sldMkLst>
      </pc:sldChg>
      <pc:sldChg chg="del">
        <pc:chgData name="Aurelien Domont" userId="6da7715ce44349b3" providerId="LiveId" clId="{1F031B4F-7A08-47B6-9BBE-3BE595172CA2}" dt="2023-02-15T23:32:22.042" v="1140" actId="47"/>
        <pc:sldMkLst>
          <pc:docMk/>
          <pc:sldMk cId="3500597963" sldId="2661"/>
        </pc:sldMkLst>
      </pc:sldChg>
      <pc:sldChg chg="del">
        <pc:chgData name="Aurelien Domont" userId="6da7715ce44349b3" providerId="LiveId" clId="{1F031B4F-7A08-47B6-9BBE-3BE595172CA2}" dt="2023-02-15T23:32:27.028" v="1142" actId="47"/>
        <pc:sldMkLst>
          <pc:docMk/>
          <pc:sldMk cId="2767712173" sldId="2662"/>
        </pc:sldMkLst>
      </pc:sldChg>
      <pc:sldChg chg="del">
        <pc:chgData name="Aurelien Domont" userId="6da7715ce44349b3" providerId="LiveId" clId="{1F031B4F-7A08-47B6-9BBE-3BE595172CA2}" dt="2023-02-15T23:32:32.269" v="1144" actId="47"/>
        <pc:sldMkLst>
          <pc:docMk/>
          <pc:sldMk cId="149861445" sldId="2663"/>
        </pc:sldMkLst>
      </pc:sldChg>
      <pc:sldChg chg="del">
        <pc:chgData name="Aurelien Domont" userId="6da7715ce44349b3" providerId="LiveId" clId="{1F031B4F-7A08-47B6-9BBE-3BE595172CA2}" dt="2023-02-15T23:32:36.023" v="1146" actId="47"/>
        <pc:sldMkLst>
          <pc:docMk/>
          <pc:sldMk cId="1638950283" sldId="2664"/>
        </pc:sldMkLst>
      </pc:sldChg>
      <pc:sldChg chg="del">
        <pc:chgData name="Aurelien Domont" userId="6da7715ce44349b3" providerId="LiveId" clId="{1F031B4F-7A08-47B6-9BBE-3BE595172CA2}" dt="2023-02-15T23:32:40.470" v="1148" actId="47"/>
        <pc:sldMkLst>
          <pc:docMk/>
          <pc:sldMk cId="1584131872" sldId="2665"/>
        </pc:sldMkLst>
      </pc:sldChg>
      <pc:sldChg chg="del">
        <pc:chgData name="Aurelien Domont" userId="6da7715ce44349b3" providerId="LiveId" clId="{1F031B4F-7A08-47B6-9BBE-3BE595172CA2}" dt="2023-02-15T23:32:44.571" v="1150" actId="47"/>
        <pc:sldMkLst>
          <pc:docMk/>
          <pc:sldMk cId="4198705293" sldId="2666"/>
        </pc:sldMkLst>
      </pc:sldChg>
      <pc:sldChg chg="del">
        <pc:chgData name="Aurelien Domont" userId="6da7715ce44349b3" providerId="LiveId" clId="{1F031B4F-7A08-47B6-9BBE-3BE595172CA2}" dt="2023-02-15T23:32:48.370" v="1152" actId="47"/>
        <pc:sldMkLst>
          <pc:docMk/>
          <pc:sldMk cId="4285009322" sldId="2667"/>
        </pc:sldMkLst>
      </pc:sldChg>
      <pc:sldChg chg="del">
        <pc:chgData name="Aurelien Domont" userId="6da7715ce44349b3" providerId="LiveId" clId="{1F031B4F-7A08-47B6-9BBE-3BE595172CA2}" dt="2023-02-15T23:32:52.467" v="1154" actId="47"/>
        <pc:sldMkLst>
          <pc:docMk/>
          <pc:sldMk cId="2212308199" sldId="2668"/>
        </pc:sldMkLst>
      </pc:sldChg>
      <pc:sldChg chg="del">
        <pc:chgData name="Aurelien Domont" userId="6da7715ce44349b3" providerId="LiveId" clId="{1F031B4F-7A08-47B6-9BBE-3BE595172CA2}" dt="2023-02-15T23:32:56.873" v="1156" actId="47"/>
        <pc:sldMkLst>
          <pc:docMk/>
          <pc:sldMk cId="1254340822" sldId="2669"/>
        </pc:sldMkLst>
      </pc:sldChg>
      <pc:sldChg chg="del">
        <pc:chgData name="Aurelien Domont" userId="6da7715ce44349b3" providerId="LiveId" clId="{1F031B4F-7A08-47B6-9BBE-3BE595172CA2}" dt="2023-02-15T23:33:00.434" v="1158" actId="47"/>
        <pc:sldMkLst>
          <pc:docMk/>
          <pc:sldMk cId="408465059" sldId="2670"/>
        </pc:sldMkLst>
      </pc:sldChg>
      <pc:sldChg chg="del">
        <pc:chgData name="Aurelien Domont" userId="6da7715ce44349b3" providerId="LiveId" clId="{1F031B4F-7A08-47B6-9BBE-3BE595172CA2}" dt="2023-02-15T23:33:03.486" v="1160" actId="47"/>
        <pc:sldMkLst>
          <pc:docMk/>
          <pc:sldMk cId="2324647012" sldId="2671"/>
        </pc:sldMkLst>
      </pc:sldChg>
      <pc:sldChg chg="del">
        <pc:chgData name="Aurelien Domont" userId="6da7715ce44349b3" providerId="LiveId" clId="{1F031B4F-7A08-47B6-9BBE-3BE595172CA2}" dt="2023-02-15T23:47:51.278" v="1415" actId="47"/>
        <pc:sldMkLst>
          <pc:docMk/>
          <pc:sldMk cId="3357886380" sldId="2672"/>
        </pc:sldMkLst>
      </pc:sldChg>
      <pc:sldChg chg="del">
        <pc:chgData name="Aurelien Domont" userId="6da7715ce44349b3" providerId="LiveId" clId="{1F031B4F-7A08-47B6-9BBE-3BE595172CA2}" dt="2023-02-15T23:33:08.268" v="1162" actId="47"/>
        <pc:sldMkLst>
          <pc:docMk/>
          <pc:sldMk cId="4043872747" sldId="2673"/>
        </pc:sldMkLst>
      </pc:sldChg>
      <pc:sldChg chg="del">
        <pc:chgData name="Aurelien Domont" userId="6da7715ce44349b3" providerId="LiveId" clId="{1F031B4F-7A08-47B6-9BBE-3BE595172CA2}" dt="2023-02-15T23:33:31.949" v="1167" actId="47"/>
        <pc:sldMkLst>
          <pc:docMk/>
          <pc:sldMk cId="2089395828" sldId="2674"/>
        </pc:sldMkLst>
      </pc:sldChg>
      <pc:sldChg chg="del">
        <pc:chgData name="Aurelien Domont" userId="6da7715ce44349b3" providerId="LiveId" clId="{1F031B4F-7A08-47B6-9BBE-3BE595172CA2}" dt="2023-02-15T23:33:35.567" v="1169" actId="47"/>
        <pc:sldMkLst>
          <pc:docMk/>
          <pc:sldMk cId="1286297924" sldId="2675"/>
        </pc:sldMkLst>
      </pc:sldChg>
      <pc:sldChg chg="del">
        <pc:chgData name="Aurelien Domont" userId="6da7715ce44349b3" providerId="LiveId" clId="{1F031B4F-7A08-47B6-9BBE-3BE595172CA2}" dt="2023-02-15T23:33:39.553" v="1171" actId="47"/>
        <pc:sldMkLst>
          <pc:docMk/>
          <pc:sldMk cId="3489293858" sldId="2676"/>
        </pc:sldMkLst>
      </pc:sldChg>
      <pc:sldChg chg="del">
        <pc:chgData name="Aurelien Domont" userId="6da7715ce44349b3" providerId="LiveId" clId="{1F031B4F-7A08-47B6-9BBE-3BE595172CA2}" dt="2023-02-15T23:33:43.801" v="1173" actId="47"/>
        <pc:sldMkLst>
          <pc:docMk/>
          <pc:sldMk cId="1167447741" sldId="2677"/>
        </pc:sldMkLst>
      </pc:sldChg>
      <pc:sldChg chg="del">
        <pc:chgData name="Aurelien Domont" userId="6da7715ce44349b3" providerId="LiveId" clId="{1F031B4F-7A08-47B6-9BBE-3BE595172CA2}" dt="2023-02-15T23:33:47.726" v="1175" actId="47"/>
        <pc:sldMkLst>
          <pc:docMk/>
          <pc:sldMk cId="288502003" sldId="2678"/>
        </pc:sldMkLst>
      </pc:sldChg>
      <pc:sldChg chg="del">
        <pc:chgData name="Aurelien Domont" userId="6da7715ce44349b3" providerId="LiveId" clId="{1F031B4F-7A08-47B6-9BBE-3BE595172CA2}" dt="2023-02-15T23:33:51.835" v="1177" actId="47"/>
        <pc:sldMkLst>
          <pc:docMk/>
          <pc:sldMk cId="746594719" sldId="2679"/>
        </pc:sldMkLst>
      </pc:sldChg>
      <pc:sldChg chg="del">
        <pc:chgData name="Aurelien Domont" userId="6da7715ce44349b3" providerId="LiveId" clId="{1F031B4F-7A08-47B6-9BBE-3BE595172CA2}" dt="2023-02-15T23:33:55.384" v="1179" actId="47"/>
        <pc:sldMkLst>
          <pc:docMk/>
          <pc:sldMk cId="1483007639" sldId="2680"/>
        </pc:sldMkLst>
      </pc:sldChg>
      <pc:sldChg chg="del">
        <pc:chgData name="Aurelien Domont" userId="6da7715ce44349b3" providerId="LiveId" clId="{1F031B4F-7A08-47B6-9BBE-3BE595172CA2}" dt="2023-02-15T23:33:58.663" v="1181" actId="47"/>
        <pc:sldMkLst>
          <pc:docMk/>
          <pc:sldMk cId="205051816" sldId="2681"/>
        </pc:sldMkLst>
      </pc:sldChg>
      <pc:sldChg chg="addSp delSp modSp mod">
        <pc:chgData name="Aurelien Domont" userId="6da7715ce44349b3" providerId="LiveId" clId="{1F031B4F-7A08-47B6-9BBE-3BE595172CA2}" dt="2023-02-14T06:08:51.600" v="440"/>
        <pc:sldMkLst>
          <pc:docMk/>
          <pc:sldMk cId="3174988895" sldId="2684"/>
        </pc:sldMkLst>
        <pc:spChg chg="add mod">
          <ac:chgData name="Aurelien Domont" userId="6da7715ce44349b3" providerId="LiveId" clId="{1F031B4F-7A08-47B6-9BBE-3BE595172CA2}" dt="2023-02-14T06:08:51.600" v="440"/>
          <ac:spMkLst>
            <pc:docMk/>
            <pc:sldMk cId="3174988895" sldId="2684"/>
            <ac:spMk id="4" creationId="{CFCF63BD-7037-3332-79BA-EE5BA5143E2B}"/>
          </ac:spMkLst>
        </pc:spChg>
        <pc:spChg chg="del">
          <ac:chgData name="Aurelien Domont" userId="6da7715ce44349b3" providerId="LiveId" clId="{1F031B4F-7A08-47B6-9BBE-3BE595172CA2}" dt="2023-02-14T06:08:50.351" v="439" actId="478"/>
          <ac:spMkLst>
            <pc:docMk/>
            <pc:sldMk cId="3174988895" sldId="2684"/>
            <ac:spMk id="20" creationId="{6C4AA021-3684-1644-CCAB-59E948D97C74}"/>
          </ac:spMkLst>
        </pc:spChg>
      </pc:sldChg>
      <pc:sldChg chg="addSp delSp modSp mod">
        <pc:chgData name="Aurelien Domont" userId="6da7715ce44349b3" providerId="LiveId" clId="{1F031B4F-7A08-47B6-9BBE-3BE595172CA2}" dt="2023-02-14T06:24:45.599" v="485" actId="21"/>
        <pc:sldMkLst>
          <pc:docMk/>
          <pc:sldMk cId="1242881402" sldId="2685"/>
        </pc:sldMkLst>
        <pc:spChg chg="mod">
          <ac:chgData name="Aurelien Domont" userId="6da7715ce44349b3" providerId="LiveId" clId="{1F031B4F-7A08-47B6-9BBE-3BE595172CA2}" dt="2023-02-14T06:11:37.127" v="452" actId="208"/>
          <ac:spMkLst>
            <pc:docMk/>
            <pc:sldMk cId="1242881402" sldId="2685"/>
            <ac:spMk id="2" creationId="{E96C98A7-08AC-D2FD-3312-593F1685EF2E}"/>
          </ac:spMkLst>
        </pc:spChg>
        <pc:spChg chg="add del mod">
          <ac:chgData name="Aurelien Domont" userId="6da7715ce44349b3" providerId="LiveId" clId="{1F031B4F-7A08-47B6-9BBE-3BE595172CA2}" dt="2023-02-14T06:24:45.599" v="485" actId="21"/>
          <ac:spMkLst>
            <pc:docMk/>
            <pc:sldMk cId="1242881402" sldId="2685"/>
            <ac:spMk id="3" creationId="{69EE5132-05C1-69EB-8A86-A2BFD5A27B68}"/>
          </ac:spMkLst>
        </pc:spChg>
        <pc:spChg chg="del">
          <ac:chgData name="Aurelien Domont" userId="6da7715ce44349b3" providerId="LiveId" clId="{1F031B4F-7A08-47B6-9BBE-3BE595172CA2}" dt="2023-02-14T06:08:45" v="437" actId="478"/>
          <ac:spMkLst>
            <pc:docMk/>
            <pc:sldMk cId="1242881402" sldId="2685"/>
            <ac:spMk id="3" creationId="{CE2529A3-BA97-486F-9E02-8DFAAA7D8D38}"/>
          </ac:spMkLst>
        </pc:spChg>
        <pc:spChg chg="mod">
          <ac:chgData name="Aurelien Domont" userId="6da7715ce44349b3" providerId="LiveId" clId="{1F031B4F-7A08-47B6-9BBE-3BE595172CA2}" dt="2023-02-14T06:11:50.496" v="453" actId="208"/>
          <ac:spMkLst>
            <pc:docMk/>
            <pc:sldMk cId="1242881402" sldId="2685"/>
            <ac:spMk id="4" creationId="{8D0F2C3F-95CA-CC10-B334-1F848B083ACF}"/>
          </ac:spMkLst>
        </pc:spChg>
        <pc:spChg chg="mod">
          <ac:chgData name="Aurelien Domont" userId="6da7715ce44349b3" providerId="LiveId" clId="{1F031B4F-7A08-47B6-9BBE-3BE595172CA2}" dt="2023-02-14T06:11:50.496" v="453" actId="208"/>
          <ac:spMkLst>
            <pc:docMk/>
            <pc:sldMk cId="1242881402" sldId="2685"/>
            <ac:spMk id="5" creationId="{33FDE8E5-E2D4-EEA8-D559-40FD105D7D33}"/>
          </ac:spMkLst>
        </pc:spChg>
        <pc:spChg chg="mod">
          <ac:chgData name="Aurelien Domont" userId="6da7715ce44349b3" providerId="LiveId" clId="{1F031B4F-7A08-47B6-9BBE-3BE595172CA2}" dt="2023-02-14T06:11:37.127" v="452" actId="208"/>
          <ac:spMkLst>
            <pc:docMk/>
            <pc:sldMk cId="1242881402" sldId="2685"/>
            <ac:spMk id="6" creationId="{269E7C9F-F8C5-7F4A-8B79-7BED2C7AEECF}"/>
          </ac:spMkLst>
        </pc:spChg>
        <pc:spChg chg="mod">
          <ac:chgData name="Aurelien Domont" userId="6da7715ce44349b3" providerId="LiveId" clId="{1F031B4F-7A08-47B6-9BBE-3BE595172CA2}" dt="2023-02-14T06:11:50.496" v="453" actId="208"/>
          <ac:spMkLst>
            <pc:docMk/>
            <pc:sldMk cId="1242881402" sldId="2685"/>
            <ac:spMk id="7" creationId="{FCC59F77-18D4-9852-8B94-C202087BE655}"/>
          </ac:spMkLst>
        </pc:spChg>
        <pc:spChg chg="mod">
          <ac:chgData name="Aurelien Domont" userId="6da7715ce44349b3" providerId="LiveId" clId="{1F031B4F-7A08-47B6-9BBE-3BE595172CA2}" dt="2023-02-14T06:11:50.496" v="453" actId="208"/>
          <ac:spMkLst>
            <pc:docMk/>
            <pc:sldMk cId="1242881402" sldId="2685"/>
            <ac:spMk id="8" creationId="{D0EF6C8F-F72D-AA65-46B7-AEBF2D71D2BB}"/>
          </ac:spMkLst>
        </pc:spChg>
        <pc:spChg chg="mod">
          <ac:chgData name="Aurelien Domont" userId="6da7715ce44349b3" providerId="LiveId" clId="{1F031B4F-7A08-47B6-9BBE-3BE595172CA2}" dt="2023-02-14T06:11:50.496" v="453" actId="208"/>
          <ac:spMkLst>
            <pc:docMk/>
            <pc:sldMk cId="1242881402" sldId="2685"/>
            <ac:spMk id="10" creationId="{9AA9E439-E2BF-A51C-949F-FE2B587325E2}"/>
          </ac:spMkLst>
        </pc:spChg>
        <pc:spChg chg="mod">
          <ac:chgData name="Aurelien Domont" userId="6da7715ce44349b3" providerId="LiveId" clId="{1F031B4F-7A08-47B6-9BBE-3BE595172CA2}" dt="2023-02-14T06:11:50.496" v="453" actId="208"/>
          <ac:spMkLst>
            <pc:docMk/>
            <pc:sldMk cId="1242881402" sldId="2685"/>
            <ac:spMk id="11" creationId="{E399082D-1209-EADB-E882-F103A3998A6E}"/>
          </ac:spMkLst>
        </pc:spChg>
        <pc:spChg chg="mod">
          <ac:chgData name="Aurelien Domont" userId="6da7715ce44349b3" providerId="LiveId" clId="{1F031B4F-7A08-47B6-9BBE-3BE595172CA2}" dt="2023-02-14T06:11:50.496" v="453" actId="208"/>
          <ac:spMkLst>
            <pc:docMk/>
            <pc:sldMk cId="1242881402" sldId="2685"/>
            <ac:spMk id="12" creationId="{EB07E748-4D29-BA94-8312-C528DDC5529A}"/>
          </ac:spMkLst>
        </pc:spChg>
        <pc:spChg chg="mod">
          <ac:chgData name="Aurelien Domont" userId="6da7715ce44349b3" providerId="LiveId" clId="{1F031B4F-7A08-47B6-9BBE-3BE595172CA2}" dt="2023-02-14T06:11:50.496" v="453" actId="208"/>
          <ac:spMkLst>
            <pc:docMk/>
            <pc:sldMk cId="1242881402" sldId="2685"/>
            <ac:spMk id="14" creationId="{F0C6781B-81C4-2C52-92DB-7F6C35E9ADD7}"/>
          </ac:spMkLst>
        </pc:spChg>
        <pc:spChg chg="add mod">
          <ac:chgData name="Aurelien Domont" userId="6da7715ce44349b3" providerId="LiveId" clId="{1F031B4F-7A08-47B6-9BBE-3BE595172CA2}" dt="2023-02-14T06:08:46.046" v="438"/>
          <ac:spMkLst>
            <pc:docMk/>
            <pc:sldMk cId="1242881402" sldId="2685"/>
            <ac:spMk id="20" creationId="{8B1FB5D5-D01C-3FA6-908F-91B1D4A98E43}"/>
          </ac:spMkLst>
        </pc:spChg>
        <pc:grpChg chg="mod">
          <ac:chgData name="Aurelien Domont" userId="6da7715ce44349b3" providerId="LiveId" clId="{1F031B4F-7A08-47B6-9BBE-3BE595172CA2}" dt="2023-02-14T06:09:54.153" v="451" actId="14100"/>
          <ac:grpSpMkLst>
            <pc:docMk/>
            <pc:sldMk cId="1242881402" sldId="2685"/>
            <ac:grpSpMk id="9" creationId="{23AD1FC7-E0FB-0BDD-D8CE-24BBACDB4AB8}"/>
          </ac:grpSpMkLst>
        </pc:grpChg>
        <pc:grpChg chg="mod">
          <ac:chgData name="Aurelien Domont" userId="6da7715ce44349b3" providerId="LiveId" clId="{1F031B4F-7A08-47B6-9BBE-3BE595172CA2}" dt="2023-02-14T06:09:45.144" v="447" actId="1037"/>
          <ac:grpSpMkLst>
            <pc:docMk/>
            <pc:sldMk cId="1242881402" sldId="2685"/>
            <ac:grpSpMk id="15" creationId="{D8A01AAD-DCA6-B5A1-0C47-E5464D9FBC8D}"/>
          </ac:grpSpMkLst>
        </pc:grpChg>
        <pc:grpChg chg="mod">
          <ac:chgData name="Aurelien Domont" userId="6da7715ce44349b3" providerId="LiveId" clId="{1F031B4F-7A08-47B6-9BBE-3BE595172CA2}" dt="2023-02-14T06:09:45.144" v="447" actId="1037"/>
          <ac:grpSpMkLst>
            <pc:docMk/>
            <pc:sldMk cId="1242881402" sldId="2685"/>
            <ac:grpSpMk id="19" creationId="{C40399F8-8AD0-D198-E013-B9EBDEE417F5}"/>
          </ac:grpSpMkLst>
        </pc:grpChg>
      </pc:sldChg>
      <pc:sldChg chg="modSp mod">
        <pc:chgData name="Aurelien Domont" userId="6da7715ce44349b3" providerId="LiveId" clId="{1F031B4F-7A08-47B6-9BBE-3BE595172CA2}" dt="2023-02-14T06:22:39.690" v="474" actId="113"/>
        <pc:sldMkLst>
          <pc:docMk/>
          <pc:sldMk cId="3418254875" sldId="2688"/>
        </pc:sldMkLst>
        <pc:graphicFrameChg chg="modGraphic">
          <ac:chgData name="Aurelien Domont" userId="6da7715ce44349b3" providerId="LiveId" clId="{1F031B4F-7A08-47B6-9BBE-3BE595172CA2}" dt="2023-02-14T06:22:39.690" v="474" actId="113"/>
          <ac:graphicFrameMkLst>
            <pc:docMk/>
            <pc:sldMk cId="3418254875" sldId="2688"/>
            <ac:graphicFrameMk id="4" creationId="{650E22A7-3D63-6230-C37E-4C48A9FF7881}"/>
          </ac:graphicFrameMkLst>
        </pc:graphicFrameChg>
      </pc:sldChg>
      <pc:sldChg chg="modSp mod">
        <pc:chgData name="Aurelien Domont" userId="6da7715ce44349b3" providerId="LiveId" clId="{1F031B4F-7A08-47B6-9BBE-3BE595172CA2}" dt="2023-02-14T07:16:39.795" v="569"/>
        <pc:sldMkLst>
          <pc:docMk/>
          <pc:sldMk cId="3274122682" sldId="2692"/>
        </pc:sldMkLst>
        <pc:spChg chg="mod">
          <ac:chgData name="Aurelien Domont" userId="6da7715ce44349b3" providerId="LiveId" clId="{1F031B4F-7A08-47B6-9BBE-3BE595172CA2}" dt="2023-02-14T07:16:39.795" v="569"/>
          <ac:spMkLst>
            <pc:docMk/>
            <pc:sldMk cId="3274122682" sldId="2692"/>
            <ac:spMk id="25" creationId="{1770AA5B-2926-3213-735F-D104B8270769}"/>
          </ac:spMkLst>
        </pc:spChg>
      </pc:sldChg>
      <pc:sldChg chg="addSp delSp modSp mod">
        <pc:chgData name="Aurelien Domont" userId="6da7715ce44349b3" providerId="LiveId" clId="{1F031B4F-7A08-47B6-9BBE-3BE595172CA2}" dt="2023-02-14T07:22:29.746" v="579" actId="21"/>
        <pc:sldMkLst>
          <pc:docMk/>
          <pc:sldMk cId="3797008395" sldId="2693"/>
        </pc:sldMkLst>
        <pc:spChg chg="add del mod">
          <ac:chgData name="Aurelien Domont" userId="6da7715ce44349b3" providerId="LiveId" clId="{1F031B4F-7A08-47B6-9BBE-3BE595172CA2}" dt="2023-02-14T07:22:29.746" v="579" actId="21"/>
          <ac:spMkLst>
            <pc:docMk/>
            <pc:sldMk cId="3797008395" sldId="2693"/>
            <ac:spMk id="2" creationId="{7A6388BA-16E1-581D-D6F4-5F0005EF4335}"/>
          </ac:spMkLst>
        </pc:spChg>
        <pc:spChg chg="mod">
          <ac:chgData name="Aurelien Domont" userId="6da7715ce44349b3" providerId="LiveId" clId="{1F031B4F-7A08-47B6-9BBE-3BE595172CA2}" dt="2023-02-14T07:17:42.563" v="570" actId="20577"/>
          <ac:spMkLst>
            <pc:docMk/>
            <pc:sldMk cId="3797008395" sldId="2693"/>
            <ac:spMk id="6" creationId="{A1742A61-D9E3-7593-F8BC-49557DAD0C5C}"/>
          </ac:spMkLst>
        </pc:spChg>
      </pc:sldChg>
      <pc:sldChg chg="addSp delSp modSp mod">
        <pc:chgData name="Aurelien Domont" userId="6da7715ce44349b3" providerId="LiveId" clId="{1F031B4F-7A08-47B6-9BBE-3BE595172CA2}" dt="2023-02-14T07:19:52.649" v="576"/>
        <pc:sldMkLst>
          <pc:docMk/>
          <pc:sldMk cId="2598134555" sldId="2694"/>
        </pc:sldMkLst>
        <pc:spChg chg="del">
          <ac:chgData name="Aurelien Domont" userId="6da7715ce44349b3" providerId="LiveId" clId="{1F031B4F-7A08-47B6-9BBE-3BE595172CA2}" dt="2023-02-14T07:19:52.342" v="575" actId="478"/>
          <ac:spMkLst>
            <pc:docMk/>
            <pc:sldMk cId="2598134555" sldId="2694"/>
            <ac:spMk id="3" creationId="{CE2529A3-BA97-486F-9E02-8DFAAA7D8D38}"/>
          </ac:spMkLst>
        </pc:spChg>
        <pc:spChg chg="add mod">
          <ac:chgData name="Aurelien Domont" userId="6da7715ce44349b3" providerId="LiveId" clId="{1F031B4F-7A08-47B6-9BBE-3BE595172CA2}" dt="2023-02-14T07:19:52.649" v="576"/>
          <ac:spMkLst>
            <pc:docMk/>
            <pc:sldMk cId="2598134555" sldId="2694"/>
            <ac:spMk id="9" creationId="{3B5E2120-22B9-F562-8041-7C78763B4333}"/>
          </ac:spMkLst>
        </pc:spChg>
        <pc:spChg chg="mod">
          <ac:chgData name="Aurelien Domont" userId="6da7715ce44349b3" providerId="LiveId" clId="{1F031B4F-7A08-47B6-9BBE-3BE595172CA2}" dt="2023-02-14T07:19:01.466" v="573" actId="5793"/>
          <ac:spMkLst>
            <pc:docMk/>
            <pc:sldMk cId="2598134555" sldId="2694"/>
            <ac:spMk id="10" creationId="{EF9F95A1-8E2A-07A4-E603-6FABB1D54E5A}"/>
          </ac:spMkLst>
        </pc:spChg>
        <pc:spChg chg="mod">
          <ac:chgData name="Aurelien Domont" userId="6da7715ce44349b3" providerId="LiveId" clId="{1F031B4F-7A08-47B6-9BBE-3BE595172CA2}" dt="2023-02-14T07:19:03.994" v="574" actId="5793"/>
          <ac:spMkLst>
            <pc:docMk/>
            <pc:sldMk cId="2598134555" sldId="2694"/>
            <ac:spMk id="11" creationId="{5A271FF8-0C1D-FCDF-B36F-550F87608945}"/>
          </ac:spMkLst>
        </pc:spChg>
      </pc:sldChg>
      <pc:sldChg chg="addSp delSp modSp mod">
        <pc:chgData name="Aurelien Domont" userId="6da7715ce44349b3" providerId="LiveId" clId="{1F031B4F-7A08-47B6-9BBE-3BE595172CA2}" dt="2023-02-14T07:19:56.854" v="578"/>
        <pc:sldMkLst>
          <pc:docMk/>
          <pc:sldMk cId="610895617" sldId="2695"/>
        </pc:sldMkLst>
        <pc:spChg chg="mod">
          <ac:chgData name="Aurelien Domont" userId="6da7715ce44349b3" providerId="LiveId" clId="{1F031B4F-7A08-47B6-9BBE-3BE595172CA2}" dt="2023-02-14T07:07:59.441" v="491" actId="313"/>
          <ac:spMkLst>
            <pc:docMk/>
            <pc:sldMk cId="610895617" sldId="2695"/>
            <ac:spMk id="4" creationId="{D5ED2F0D-D3EA-D96E-ED10-224986FAA24E}"/>
          </ac:spMkLst>
        </pc:spChg>
        <pc:spChg chg="del">
          <ac:chgData name="Aurelien Domont" userId="6da7715ce44349b3" providerId="LiveId" clId="{1F031B4F-7A08-47B6-9BBE-3BE595172CA2}" dt="2023-02-14T07:19:56.663" v="577" actId="478"/>
          <ac:spMkLst>
            <pc:docMk/>
            <pc:sldMk cId="610895617" sldId="2695"/>
            <ac:spMk id="5" creationId="{EB21C888-0D0C-6330-C608-584D3E7E129B}"/>
          </ac:spMkLst>
        </pc:spChg>
        <pc:spChg chg="add mod">
          <ac:chgData name="Aurelien Domont" userId="6da7715ce44349b3" providerId="LiveId" clId="{1F031B4F-7A08-47B6-9BBE-3BE595172CA2}" dt="2023-02-14T07:19:56.854" v="578"/>
          <ac:spMkLst>
            <pc:docMk/>
            <pc:sldMk cId="610895617" sldId="2695"/>
            <ac:spMk id="18" creationId="{68E4966A-8C44-60BD-71C7-D0732D68799B}"/>
          </ac:spMkLst>
        </pc:spChg>
      </pc:sldChg>
      <pc:sldChg chg="modSp mod">
        <pc:chgData name="Aurelien Domont" userId="6da7715ce44349b3" providerId="LiveId" clId="{1F031B4F-7A08-47B6-9BBE-3BE595172CA2}" dt="2023-02-14T07:11:24.356" v="559" actId="1035"/>
        <pc:sldMkLst>
          <pc:docMk/>
          <pc:sldMk cId="4236249346" sldId="2696"/>
        </pc:sldMkLst>
        <pc:graphicFrameChg chg="mod modGraphic">
          <ac:chgData name="Aurelien Domont" userId="6da7715ce44349b3" providerId="LiveId" clId="{1F031B4F-7A08-47B6-9BBE-3BE595172CA2}" dt="2023-02-14T07:11:09.685" v="540" actId="6549"/>
          <ac:graphicFrameMkLst>
            <pc:docMk/>
            <pc:sldMk cId="4236249346" sldId="2696"/>
            <ac:graphicFrameMk id="5" creationId="{CB3CE04B-695B-943C-FD13-E4ADE63F943C}"/>
          </ac:graphicFrameMkLst>
        </pc:graphicFrameChg>
        <pc:picChg chg="mod">
          <ac:chgData name="Aurelien Domont" userId="6da7715ce44349b3" providerId="LiveId" clId="{1F031B4F-7A08-47B6-9BBE-3BE595172CA2}" dt="2023-02-14T07:11:24.356" v="559" actId="1035"/>
          <ac:picMkLst>
            <pc:docMk/>
            <pc:sldMk cId="4236249346" sldId="2696"/>
            <ac:picMk id="4" creationId="{CEE293BE-CFB5-74D9-8B10-04C088416BA9}"/>
          </ac:picMkLst>
        </pc:picChg>
        <pc:picChg chg="mod">
          <ac:chgData name="Aurelien Domont" userId="6da7715ce44349b3" providerId="LiveId" clId="{1F031B4F-7A08-47B6-9BBE-3BE595172CA2}" dt="2023-02-14T07:11:24.356" v="559" actId="1035"/>
          <ac:picMkLst>
            <pc:docMk/>
            <pc:sldMk cId="4236249346" sldId="2696"/>
            <ac:picMk id="11" creationId="{FAB348E7-D976-A9BB-1B3B-4F17594162BA}"/>
          </ac:picMkLst>
        </pc:picChg>
        <pc:picChg chg="mod">
          <ac:chgData name="Aurelien Domont" userId="6da7715ce44349b3" providerId="LiveId" clId="{1F031B4F-7A08-47B6-9BBE-3BE595172CA2}" dt="2023-02-14T07:11:24.356" v="559" actId="1035"/>
          <ac:picMkLst>
            <pc:docMk/>
            <pc:sldMk cId="4236249346" sldId="2696"/>
            <ac:picMk id="14" creationId="{41D50BC2-8D06-262C-5E83-34469EFBFA63}"/>
          </ac:picMkLst>
        </pc:picChg>
        <pc:picChg chg="mod">
          <ac:chgData name="Aurelien Domont" userId="6da7715ce44349b3" providerId="LiveId" clId="{1F031B4F-7A08-47B6-9BBE-3BE595172CA2}" dt="2023-02-14T07:11:24.356" v="559" actId="1035"/>
          <ac:picMkLst>
            <pc:docMk/>
            <pc:sldMk cId="4236249346" sldId="2696"/>
            <ac:picMk id="18" creationId="{56061DC1-8ED9-F7CF-F236-B97D51B649F3}"/>
          </ac:picMkLst>
        </pc:picChg>
        <pc:picChg chg="mod">
          <ac:chgData name="Aurelien Domont" userId="6da7715ce44349b3" providerId="LiveId" clId="{1F031B4F-7A08-47B6-9BBE-3BE595172CA2}" dt="2023-02-14T07:11:24.356" v="559" actId="1035"/>
          <ac:picMkLst>
            <pc:docMk/>
            <pc:sldMk cId="4236249346" sldId="2696"/>
            <ac:picMk id="20" creationId="{92062F48-0479-450D-2544-57DB10BB4DC2}"/>
          </ac:picMkLst>
        </pc:picChg>
        <pc:picChg chg="mod">
          <ac:chgData name="Aurelien Domont" userId="6da7715ce44349b3" providerId="LiveId" clId="{1F031B4F-7A08-47B6-9BBE-3BE595172CA2}" dt="2023-02-14T07:11:24.356" v="559" actId="1035"/>
          <ac:picMkLst>
            <pc:docMk/>
            <pc:sldMk cId="4236249346" sldId="2696"/>
            <ac:picMk id="24" creationId="{5D5225A9-9930-B6B2-4DD8-9C05A306E496}"/>
          </ac:picMkLst>
        </pc:picChg>
        <pc:picChg chg="mod">
          <ac:chgData name="Aurelien Domont" userId="6da7715ce44349b3" providerId="LiveId" clId="{1F031B4F-7A08-47B6-9BBE-3BE595172CA2}" dt="2023-02-14T07:11:24.356" v="559" actId="1035"/>
          <ac:picMkLst>
            <pc:docMk/>
            <pc:sldMk cId="4236249346" sldId="2696"/>
            <ac:picMk id="28" creationId="{1714ADBC-BE77-6763-CD40-6FE5E2801824}"/>
          </ac:picMkLst>
        </pc:picChg>
        <pc:picChg chg="mod">
          <ac:chgData name="Aurelien Domont" userId="6da7715ce44349b3" providerId="LiveId" clId="{1F031B4F-7A08-47B6-9BBE-3BE595172CA2}" dt="2023-02-14T07:11:24.356" v="559" actId="1035"/>
          <ac:picMkLst>
            <pc:docMk/>
            <pc:sldMk cId="4236249346" sldId="2696"/>
            <ac:picMk id="30" creationId="{190F1B4F-D7D1-E70E-4574-A819C50E35C6}"/>
          </ac:picMkLst>
        </pc:picChg>
        <pc:picChg chg="mod">
          <ac:chgData name="Aurelien Domont" userId="6da7715ce44349b3" providerId="LiveId" clId="{1F031B4F-7A08-47B6-9BBE-3BE595172CA2}" dt="2023-02-14T07:11:24.356" v="559" actId="1035"/>
          <ac:picMkLst>
            <pc:docMk/>
            <pc:sldMk cId="4236249346" sldId="2696"/>
            <ac:picMk id="32" creationId="{EA2B46C6-EEEA-3C0E-B1B6-29867B539C57}"/>
          </ac:picMkLst>
        </pc:picChg>
      </pc:sldChg>
      <pc:sldChg chg="addSp delSp modSp mod">
        <pc:chgData name="Aurelien Domont" userId="6da7715ce44349b3" providerId="LiveId" clId="{1F031B4F-7A08-47B6-9BBE-3BE595172CA2}" dt="2023-02-16T00:11:26.258" v="1684" actId="948"/>
        <pc:sldMkLst>
          <pc:docMk/>
          <pc:sldMk cId="2834671872" sldId="2699"/>
        </pc:sldMkLst>
        <pc:spChg chg="mod">
          <ac:chgData name="Aurelien Domont" userId="6da7715ce44349b3" providerId="LiveId" clId="{1F031B4F-7A08-47B6-9BBE-3BE595172CA2}" dt="2023-02-16T00:11:26.258" v="1684" actId="948"/>
          <ac:spMkLst>
            <pc:docMk/>
            <pc:sldMk cId="2834671872" sldId="2699"/>
            <ac:spMk id="6" creationId="{925DDD0A-01CE-7FB4-14EA-5618B9C4E995}"/>
          </ac:spMkLst>
        </pc:spChg>
        <pc:spChg chg="add del mod">
          <ac:chgData name="Aurelien Domont" userId="6da7715ce44349b3" providerId="LiveId" clId="{1F031B4F-7A08-47B6-9BBE-3BE595172CA2}" dt="2023-02-14T07:26:06.974" v="582" actId="478"/>
          <ac:spMkLst>
            <pc:docMk/>
            <pc:sldMk cId="2834671872" sldId="2699"/>
            <ac:spMk id="9" creationId="{101D6C83-66DE-C69D-1100-923230058ACF}"/>
          </ac:spMkLst>
        </pc:spChg>
        <pc:spChg chg="mod">
          <ac:chgData name="Aurelien Domont" userId="6da7715ce44349b3" providerId="LiveId" clId="{1F031B4F-7A08-47B6-9BBE-3BE595172CA2}" dt="2023-02-16T00:06:47.466" v="1606" actId="6549"/>
          <ac:spMkLst>
            <pc:docMk/>
            <pc:sldMk cId="2834671872" sldId="2699"/>
            <ac:spMk id="16" creationId="{6C2BB713-9637-4B9B-938F-E9768876782A}"/>
          </ac:spMkLst>
        </pc:spChg>
      </pc:sldChg>
      <pc:sldChg chg="addSp delSp del mod">
        <pc:chgData name="Aurelien Domont" userId="6da7715ce44349b3" providerId="LiveId" clId="{1F031B4F-7A08-47B6-9BBE-3BE595172CA2}" dt="2023-02-16T00:06:43.490" v="1600" actId="47"/>
        <pc:sldMkLst>
          <pc:docMk/>
          <pc:sldMk cId="417430949" sldId="2700"/>
        </pc:sldMkLst>
        <pc:spChg chg="add del">
          <ac:chgData name="Aurelien Domont" userId="6da7715ce44349b3" providerId="LiveId" clId="{1F031B4F-7A08-47B6-9BBE-3BE595172CA2}" dt="2023-02-14T07:32:18.023" v="606" actId="21"/>
          <ac:spMkLst>
            <pc:docMk/>
            <pc:sldMk cId="417430949" sldId="2700"/>
            <ac:spMk id="3" creationId="{CE2529A3-BA97-486F-9E02-8DFAAA7D8D38}"/>
          </ac:spMkLst>
        </pc:spChg>
      </pc:sldChg>
      <pc:sldChg chg="del">
        <pc:chgData name="Aurelien Domont" userId="6da7715ce44349b3" providerId="LiveId" clId="{1F031B4F-7A08-47B6-9BBE-3BE595172CA2}" dt="2023-02-15T23:34:02.673" v="1183" actId="47"/>
        <pc:sldMkLst>
          <pc:docMk/>
          <pc:sldMk cId="2950204638" sldId="2701"/>
        </pc:sldMkLst>
      </pc:sldChg>
      <pc:sldChg chg="modSp mod">
        <pc:chgData name="Aurelien Domont" userId="6da7715ce44349b3" providerId="LiveId" clId="{1F031B4F-7A08-47B6-9BBE-3BE595172CA2}" dt="2023-02-16T00:14:21.507" v="1731" actId="20577"/>
        <pc:sldMkLst>
          <pc:docMk/>
          <pc:sldMk cId="3807224539" sldId="2702"/>
        </pc:sldMkLst>
        <pc:spChg chg="mod">
          <ac:chgData name="Aurelien Domont" userId="6da7715ce44349b3" providerId="LiveId" clId="{1F031B4F-7A08-47B6-9BBE-3BE595172CA2}" dt="2023-02-16T00:14:17.415" v="1725" actId="1035"/>
          <ac:spMkLst>
            <pc:docMk/>
            <pc:sldMk cId="3807224539" sldId="2702"/>
            <ac:spMk id="6" creationId="{925DDD0A-01CE-7FB4-14EA-5618B9C4E995}"/>
          </ac:spMkLst>
        </pc:spChg>
        <pc:spChg chg="mod">
          <ac:chgData name="Aurelien Domont" userId="6da7715ce44349b3" providerId="LiveId" clId="{1F031B4F-7A08-47B6-9BBE-3BE595172CA2}" dt="2023-02-16T00:14:21.507" v="1731" actId="20577"/>
          <ac:spMkLst>
            <pc:docMk/>
            <pc:sldMk cId="3807224539" sldId="2702"/>
            <ac:spMk id="16" creationId="{6C2BB713-9637-4B9B-938F-E9768876782A}"/>
          </ac:spMkLst>
        </pc:spChg>
      </pc:sldChg>
      <pc:sldChg chg="del">
        <pc:chgData name="Aurelien Domont" userId="6da7715ce44349b3" providerId="LiveId" clId="{1F031B4F-7A08-47B6-9BBE-3BE595172CA2}" dt="2023-02-16T00:14:26.742" v="1732" actId="47"/>
        <pc:sldMkLst>
          <pc:docMk/>
          <pc:sldMk cId="634799592" sldId="2703"/>
        </pc:sldMkLst>
      </pc:sldChg>
      <pc:sldChg chg="addSp delSp modSp mod">
        <pc:chgData name="Aurelien Domont" userId="6da7715ce44349b3" providerId="LiveId" clId="{1F031B4F-7A08-47B6-9BBE-3BE595172CA2}" dt="2023-02-14T06:20:39.528" v="473" actId="113"/>
        <pc:sldMkLst>
          <pc:docMk/>
          <pc:sldMk cId="17386054" sldId="2704"/>
        </pc:sldMkLst>
        <pc:spChg chg="mod">
          <ac:chgData name="Aurelien Domont" userId="6da7715ce44349b3" providerId="LiveId" clId="{1F031B4F-7A08-47B6-9BBE-3BE595172CA2}" dt="2023-02-14T06:20:39.528" v="473" actId="113"/>
          <ac:spMkLst>
            <pc:docMk/>
            <pc:sldMk cId="17386054" sldId="2704"/>
            <ac:spMk id="2" creationId="{562281EE-2937-C9F4-E468-ED5CB485B421}"/>
          </ac:spMkLst>
        </pc:spChg>
        <pc:spChg chg="add mod">
          <ac:chgData name="Aurelien Domont" userId="6da7715ce44349b3" providerId="LiveId" clId="{1F031B4F-7A08-47B6-9BBE-3BE595172CA2}" dt="2023-02-14T06:08:55.945" v="442"/>
          <ac:spMkLst>
            <pc:docMk/>
            <pc:sldMk cId="17386054" sldId="2704"/>
            <ac:spMk id="3" creationId="{8277C8A2-0C26-7C61-873F-399C3A3EB951}"/>
          </ac:spMkLst>
        </pc:spChg>
        <pc:spChg chg="del">
          <ac:chgData name="Aurelien Domont" userId="6da7715ce44349b3" providerId="LiveId" clId="{1F031B4F-7A08-47B6-9BBE-3BE595172CA2}" dt="2023-02-14T06:08:55.413" v="441" actId="478"/>
          <ac:spMkLst>
            <pc:docMk/>
            <pc:sldMk cId="17386054" sldId="2704"/>
            <ac:spMk id="20" creationId="{6C4AA021-3684-1644-CCAB-59E948D97C74}"/>
          </ac:spMkLst>
        </pc:spChg>
      </pc:sldChg>
      <pc:sldChg chg="modSp mod">
        <pc:chgData name="Aurelien Domont" userId="6da7715ce44349b3" providerId="LiveId" clId="{1F031B4F-7A08-47B6-9BBE-3BE595172CA2}" dt="2023-02-14T06:24:21.546" v="484" actId="113"/>
        <pc:sldMkLst>
          <pc:docMk/>
          <pc:sldMk cId="282272003" sldId="2705"/>
        </pc:sldMkLst>
        <pc:spChg chg="mod">
          <ac:chgData name="Aurelien Domont" userId="6da7715ce44349b3" providerId="LiveId" clId="{1F031B4F-7A08-47B6-9BBE-3BE595172CA2}" dt="2023-02-14T06:24:21.546" v="484" actId="113"/>
          <ac:spMkLst>
            <pc:docMk/>
            <pc:sldMk cId="282272003" sldId="2705"/>
            <ac:spMk id="111" creationId="{82EC5D77-9F87-DCD8-8100-D54CD71C9A0C}"/>
          </ac:spMkLst>
        </pc:spChg>
      </pc:sldChg>
      <pc:sldChg chg="addSp modSp">
        <pc:chgData name="Aurelien Domont" userId="6da7715ce44349b3" providerId="LiveId" clId="{1F031B4F-7A08-47B6-9BBE-3BE595172CA2}" dt="2023-02-14T07:32:37.035" v="614"/>
        <pc:sldMkLst>
          <pc:docMk/>
          <pc:sldMk cId="3996143919" sldId="2707"/>
        </pc:sldMkLst>
        <pc:spChg chg="add mod">
          <ac:chgData name="Aurelien Domont" userId="6da7715ce44349b3" providerId="LiveId" clId="{1F031B4F-7A08-47B6-9BBE-3BE595172CA2}" dt="2023-02-14T07:32:37.035" v="614"/>
          <ac:spMkLst>
            <pc:docMk/>
            <pc:sldMk cId="3996143919" sldId="2707"/>
            <ac:spMk id="2" creationId="{EB1ECED2-AEBC-85D7-6CD7-03F480DC0324}"/>
          </ac:spMkLst>
        </pc:spChg>
      </pc:sldChg>
      <pc:sldChg chg="addSp modSp">
        <pc:chgData name="Aurelien Domont" userId="6da7715ce44349b3" providerId="LiveId" clId="{1F031B4F-7A08-47B6-9BBE-3BE595172CA2}" dt="2023-02-14T07:32:39.981" v="615"/>
        <pc:sldMkLst>
          <pc:docMk/>
          <pc:sldMk cId="3499380299" sldId="2708"/>
        </pc:sldMkLst>
        <pc:spChg chg="add mod">
          <ac:chgData name="Aurelien Domont" userId="6da7715ce44349b3" providerId="LiveId" clId="{1F031B4F-7A08-47B6-9BBE-3BE595172CA2}" dt="2023-02-14T07:32:39.981" v="615"/>
          <ac:spMkLst>
            <pc:docMk/>
            <pc:sldMk cId="3499380299" sldId="2708"/>
            <ac:spMk id="2" creationId="{F8D3E6FA-64BC-1E8F-D583-03218646C43E}"/>
          </ac:spMkLst>
        </pc:spChg>
      </pc:sldChg>
      <pc:sldChg chg="addSp delSp modSp mod">
        <pc:chgData name="Aurelien Domont" userId="6da7715ce44349b3" providerId="LiveId" clId="{1F031B4F-7A08-47B6-9BBE-3BE595172CA2}" dt="2023-02-14T07:32:49.833" v="618"/>
        <pc:sldMkLst>
          <pc:docMk/>
          <pc:sldMk cId="4176215261" sldId="2709"/>
        </pc:sldMkLst>
        <pc:spChg chg="add mod">
          <ac:chgData name="Aurelien Domont" userId="6da7715ce44349b3" providerId="LiveId" clId="{1F031B4F-7A08-47B6-9BBE-3BE595172CA2}" dt="2023-02-14T07:32:49.833" v="618"/>
          <ac:spMkLst>
            <pc:docMk/>
            <pc:sldMk cId="4176215261" sldId="2709"/>
            <ac:spMk id="2" creationId="{42DE1634-408B-0759-80D1-9F9E1DE5D0C3}"/>
          </ac:spMkLst>
        </pc:spChg>
        <pc:spChg chg="del">
          <ac:chgData name="Aurelien Domont" userId="6da7715ce44349b3" providerId="LiveId" clId="{1F031B4F-7A08-47B6-9BBE-3BE595172CA2}" dt="2023-02-14T07:32:49.484" v="617" actId="478"/>
          <ac:spMkLst>
            <pc:docMk/>
            <pc:sldMk cId="4176215261" sldId="2709"/>
            <ac:spMk id="3" creationId="{CE2529A3-BA97-486F-9E02-8DFAAA7D8D38}"/>
          </ac:spMkLst>
        </pc:spChg>
        <pc:spChg chg="del">
          <ac:chgData name="Aurelien Domont" userId="6da7715ce44349b3" providerId="LiveId" clId="{1F031B4F-7A08-47B6-9BBE-3BE595172CA2}" dt="2023-02-14T07:32:46.764" v="616" actId="478"/>
          <ac:spMkLst>
            <pc:docMk/>
            <pc:sldMk cId="4176215261" sldId="2709"/>
            <ac:spMk id="8" creationId="{A59D9EB3-E9B5-436C-B84C-64290C638E46}"/>
          </ac:spMkLst>
        </pc:spChg>
      </pc:sldChg>
      <pc:sldChg chg="addSp delSp modSp mod">
        <pc:chgData name="Aurelien Domont" userId="6da7715ce44349b3" providerId="LiveId" clId="{1F031B4F-7A08-47B6-9BBE-3BE595172CA2}" dt="2023-02-15T03:47:29.335" v="973"/>
        <pc:sldMkLst>
          <pc:docMk/>
          <pc:sldMk cId="2135764499" sldId="2713"/>
        </pc:sldMkLst>
        <pc:spChg chg="del">
          <ac:chgData name="Aurelien Domont" userId="6da7715ce44349b3" providerId="LiveId" clId="{1F031B4F-7A08-47B6-9BBE-3BE595172CA2}" dt="2023-02-15T03:47:28.824" v="972" actId="478"/>
          <ac:spMkLst>
            <pc:docMk/>
            <pc:sldMk cId="2135764499" sldId="2713"/>
            <ac:spMk id="3" creationId="{CE2529A3-BA97-486F-9E02-8DFAAA7D8D38}"/>
          </ac:spMkLst>
        </pc:spChg>
        <pc:spChg chg="add mod">
          <ac:chgData name="Aurelien Domont" userId="6da7715ce44349b3" providerId="LiveId" clId="{1F031B4F-7A08-47B6-9BBE-3BE595172CA2}" dt="2023-02-15T03:47:29.335" v="973"/>
          <ac:spMkLst>
            <pc:docMk/>
            <pc:sldMk cId="2135764499" sldId="2713"/>
            <ac:spMk id="5" creationId="{C31F5D5C-5475-661B-448D-59F8EEF18DCB}"/>
          </ac:spMkLst>
        </pc:spChg>
      </pc:sldChg>
      <pc:sldChg chg="addSp delSp modSp add del mod">
        <pc:chgData name="Aurelien Domont" userId="6da7715ce44349b3" providerId="LiveId" clId="{1F031B4F-7A08-47B6-9BBE-3BE595172CA2}" dt="2023-02-15T23:57:56.936" v="1527"/>
        <pc:sldMkLst>
          <pc:docMk/>
          <pc:sldMk cId="1573836939" sldId="2714"/>
        </pc:sldMkLst>
        <pc:spChg chg="add mod">
          <ac:chgData name="Aurelien Domont" userId="6da7715ce44349b3" providerId="LiveId" clId="{1F031B4F-7A08-47B6-9BBE-3BE595172CA2}" dt="2023-02-15T23:57:56.936" v="1527"/>
          <ac:spMkLst>
            <pc:docMk/>
            <pc:sldMk cId="1573836939" sldId="2714"/>
            <ac:spMk id="2" creationId="{EC26678B-2D31-D528-89A1-F381231F3247}"/>
          </ac:spMkLst>
        </pc:spChg>
        <pc:spChg chg="del">
          <ac:chgData name="Aurelien Domont" userId="6da7715ce44349b3" providerId="LiveId" clId="{1F031B4F-7A08-47B6-9BBE-3BE595172CA2}" dt="2023-02-15T23:57:56.677" v="1526" actId="478"/>
          <ac:spMkLst>
            <pc:docMk/>
            <pc:sldMk cId="1573836939" sldId="2714"/>
            <ac:spMk id="3" creationId="{CE2529A3-BA97-486F-9E02-8DFAAA7D8D38}"/>
          </ac:spMkLst>
        </pc:spChg>
        <pc:spChg chg="mod">
          <ac:chgData name="Aurelien Domont" userId="6da7715ce44349b3" providerId="LiveId" clId="{1F031B4F-7A08-47B6-9BBE-3BE595172CA2}" dt="2023-02-15T23:57:01.530" v="1519" actId="14100"/>
          <ac:spMkLst>
            <pc:docMk/>
            <pc:sldMk cId="1573836939" sldId="2714"/>
            <ac:spMk id="5" creationId="{F232B936-E17D-04E4-26FC-01EC4EE603D1}"/>
          </ac:spMkLst>
        </pc:spChg>
        <pc:spChg chg="del">
          <ac:chgData name="Aurelien Domont" userId="6da7715ce44349b3" providerId="LiveId" clId="{1F031B4F-7A08-47B6-9BBE-3BE595172CA2}" dt="2023-02-15T23:56:40.580" v="1514" actId="478"/>
          <ac:spMkLst>
            <pc:docMk/>
            <pc:sldMk cId="1573836939" sldId="2714"/>
            <ac:spMk id="7" creationId="{403A8A29-9476-22BB-178D-9E13D8B502E1}"/>
          </ac:spMkLst>
        </pc:spChg>
        <pc:spChg chg="del">
          <ac:chgData name="Aurelien Domont" userId="6da7715ce44349b3" providerId="LiveId" clId="{1F031B4F-7A08-47B6-9BBE-3BE595172CA2}" dt="2023-02-15T23:56:47.265" v="1516" actId="478"/>
          <ac:spMkLst>
            <pc:docMk/>
            <pc:sldMk cId="1573836939" sldId="2714"/>
            <ac:spMk id="8" creationId="{45019213-D1BE-107E-2F5F-9B4585FDEEB0}"/>
          </ac:spMkLst>
        </pc:spChg>
        <pc:spChg chg="del">
          <ac:chgData name="Aurelien Domont" userId="6da7715ce44349b3" providerId="LiveId" clId="{1F031B4F-7A08-47B6-9BBE-3BE595172CA2}" dt="2023-02-15T23:56:40.580" v="1514" actId="478"/>
          <ac:spMkLst>
            <pc:docMk/>
            <pc:sldMk cId="1573836939" sldId="2714"/>
            <ac:spMk id="10" creationId="{BD32D625-76AC-03ED-AEF1-F443696032C5}"/>
          </ac:spMkLst>
        </pc:spChg>
        <pc:spChg chg="mod">
          <ac:chgData name="Aurelien Domont" userId="6da7715ce44349b3" providerId="LiveId" clId="{1F031B4F-7A08-47B6-9BBE-3BE595172CA2}" dt="2023-02-15T23:55:58.880" v="1459" actId="20577"/>
          <ac:spMkLst>
            <pc:docMk/>
            <pc:sldMk cId="1573836939" sldId="2714"/>
            <ac:spMk id="16" creationId="{6C2BB713-9637-4B9B-938F-E9768876782A}"/>
          </ac:spMkLst>
        </pc:spChg>
        <pc:grpChg chg="del">
          <ac:chgData name="Aurelien Domont" userId="6da7715ce44349b3" providerId="LiveId" clId="{1F031B4F-7A08-47B6-9BBE-3BE595172CA2}" dt="2023-02-15T23:56:40.580" v="1514" actId="478"/>
          <ac:grpSpMkLst>
            <pc:docMk/>
            <pc:sldMk cId="1573836939" sldId="2714"/>
            <ac:grpSpMk id="19" creationId="{85468F65-C184-8A3A-0CDD-6F0541764740}"/>
          </ac:grpSpMkLst>
        </pc:grpChg>
      </pc:sldChg>
      <pc:sldChg chg="addSp delSp modSp mod">
        <pc:chgData name="Aurelien Domont" userId="6da7715ce44349b3" providerId="LiveId" clId="{1F031B4F-7A08-47B6-9BBE-3BE595172CA2}" dt="2023-02-15T03:44:28.789" v="971"/>
        <pc:sldMkLst>
          <pc:docMk/>
          <pc:sldMk cId="3390275683" sldId="2715"/>
        </pc:sldMkLst>
        <pc:spChg chg="add mod">
          <ac:chgData name="Aurelien Domont" userId="6da7715ce44349b3" providerId="LiveId" clId="{1F031B4F-7A08-47B6-9BBE-3BE595172CA2}" dt="2023-02-15T03:44:28.789" v="971"/>
          <ac:spMkLst>
            <pc:docMk/>
            <pc:sldMk cId="3390275683" sldId="2715"/>
            <ac:spMk id="2" creationId="{ACB885ED-7D41-D1FD-AF51-F1BCAC4C0AE6}"/>
          </ac:spMkLst>
        </pc:spChg>
        <pc:spChg chg="del">
          <ac:chgData name="Aurelien Domont" userId="6da7715ce44349b3" providerId="LiveId" clId="{1F031B4F-7A08-47B6-9BBE-3BE595172CA2}" dt="2023-02-15T03:44:28.587" v="970" actId="478"/>
          <ac:spMkLst>
            <pc:docMk/>
            <pc:sldMk cId="3390275683" sldId="2715"/>
            <ac:spMk id="3" creationId="{CE2529A3-BA97-486F-9E02-8DFAAA7D8D38}"/>
          </ac:spMkLst>
        </pc:spChg>
        <pc:spChg chg="mod">
          <ac:chgData name="Aurelien Domont" userId="6da7715ce44349b3" providerId="LiveId" clId="{1F031B4F-7A08-47B6-9BBE-3BE595172CA2}" dt="2023-02-15T03:44:14.606" v="969" actId="179"/>
          <ac:spMkLst>
            <pc:docMk/>
            <pc:sldMk cId="3390275683" sldId="2715"/>
            <ac:spMk id="9" creationId="{264AD83F-2678-C45A-8A97-0D84D5BCC0DF}"/>
          </ac:spMkLst>
        </pc:spChg>
      </pc:sldChg>
      <pc:sldChg chg="addSp delSp modSp mod">
        <pc:chgData name="Aurelien Domont" userId="6da7715ce44349b3" providerId="LiveId" clId="{1F031B4F-7A08-47B6-9BBE-3BE595172CA2}" dt="2023-02-15T03:53:16.903" v="979"/>
        <pc:sldMkLst>
          <pc:docMk/>
          <pc:sldMk cId="717409554" sldId="2719"/>
        </pc:sldMkLst>
        <pc:spChg chg="add mod">
          <ac:chgData name="Aurelien Domont" userId="6da7715ce44349b3" providerId="LiveId" clId="{1F031B4F-7A08-47B6-9BBE-3BE595172CA2}" dt="2023-02-15T03:53:16.903" v="979"/>
          <ac:spMkLst>
            <pc:docMk/>
            <pc:sldMk cId="717409554" sldId="2719"/>
            <ac:spMk id="2" creationId="{012EE7C8-9118-979C-3EC7-C247A8805C1F}"/>
          </ac:spMkLst>
        </pc:spChg>
        <pc:spChg chg="del">
          <ac:chgData name="Aurelien Domont" userId="6da7715ce44349b3" providerId="LiveId" clId="{1F031B4F-7A08-47B6-9BBE-3BE595172CA2}" dt="2023-02-15T03:53:16.634" v="978" actId="478"/>
          <ac:spMkLst>
            <pc:docMk/>
            <pc:sldMk cId="717409554" sldId="2719"/>
            <ac:spMk id="3" creationId="{CE2529A3-BA97-486F-9E02-8DFAAA7D8D38}"/>
          </ac:spMkLst>
        </pc:spChg>
        <pc:spChg chg="mod">
          <ac:chgData name="Aurelien Domont" userId="6da7715ce44349b3" providerId="LiveId" clId="{1F031B4F-7A08-47B6-9BBE-3BE595172CA2}" dt="2023-02-15T03:49:52.996" v="974" actId="179"/>
          <ac:spMkLst>
            <pc:docMk/>
            <pc:sldMk cId="717409554" sldId="2719"/>
            <ac:spMk id="9" creationId="{264AD83F-2678-C45A-8A97-0D84D5BCC0DF}"/>
          </ac:spMkLst>
        </pc:spChg>
      </pc:sldChg>
      <pc:sldChg chg="addSp delSp modSp mod">
        <pc:chgData name="Aurelien Domont" userId="6da7715ce44349b3" providerId="LiveId" clId="{1F031B4F-7A08-47B6-9BBE-3BE595172CA2}" dt="2023-02-15T03:53:20.429" v="981"/>
        <pc:sldMkLst>
          <pc:docMk/>
          <pc:sldMk cId="2252086513" sldId="2720"/>
        </pc:sldMkLst>
        <pc:spChg chg="add del mod">
          <ac:chgData name="Aurelien Domont" userId="6da7715ce44349b3" providerId="LiveId" clId="{1F031B4F-7A08-47B6-9BBE-3BE595172CA2}" dt="2023-02-15T03:52:58.076" v="977" actId="478"/>
          <ac:spMkLst>
            <pc:docMk/>
            <pc:sldMk cId="2252086513" sldId="2720"/>
            <ac:spMk id="2" creationId="{98D3B7DB-CFC3-25B4-77F4-C5DB60259368}"/>
          </ac:spMkLst>
        </pc:spChg>
        <pc:spChg chg="del">
          <ac:chgData name="Aurelien Domont" userId="6da7715ce44349b3" providerId="LiveId" clId="{1F031B4F-7A08-47B6-9BBE-3BE595172CA2}" dt="2023-02-15T03:53:20.329" v="980" actId="478"/>
          <ac:spMkLst>
            <pc:docMk/>
            <pc:sldMk cId="2252086513" sldId="2720"/>
            <ac:spMk id="3" creationId="{CE2529A3-BA97-486F-9E02-8DFAAA7D8D38}"/>
          </ac:spMkLst>
        </pc:spChg>
        <pc:spChg chg="add mod">
          <ac:chgData name="Aurelien Domont" userId="6da7715ce44349b3" providerId="LiveId" clId="{1F031B4F-7A08-47B6-9BBE-3BE595172CA2}" dt="2023-02-15T03:53:20.429" v="981"/>
          <ac:spMkLst>
            <pc:docMk/>
            <pc:sldMk cId="2252086513" sldId="2720"/>
            <ac:spMk id="4" creationId="{67F2C77C-95CA-95AB-410A-A79E1C7A2476}"/>
          </ac:spMkLst>
        </pc:spChg>
        <pc:spChg chg="mod">
          <ac:chgData name="Aurelien Domont" userId="6da7715ce44349b3" providerId="LiveId" clId="{1F031B4F-7A08-47B6-9BBE-3BE595172CA2}" dt="2023-02-14T07:08:02.870" v="493" actId="313"/>
          <ac:spMkLst>
            <pc:docMk/>
            <pc:sldMk cId="2252086513" sldId="2720"/>
            <ac:spMk id="9" creationId="{264AD83F-2678-C45A-8A97-0D84D5BCC0DF}"/>
          </ac:spMkLst>
        </pc:spChg>
      </pc:sldChg>
      <pc:sldChg chg="addSp delSp modSp mod">
        <pc:chgData name="Aurelien Domont" userId="6da7715ce44349b3" providerId="LiveId" clId="{1F031B4F-7A08-47B6-9BBE-3BE595172CA2}" dt="2023-02-15T03:53:23.812" v="983"/>
        <pc:sldMkLst>
          <pc:docMk/>
          <pc:sldMk cId="2453546627" sldId="2721"/>
        </pc:sldMkLst>
        <pc:spChg chg="del">
          <ac:chgData name="Aurelien Domont" userId="6da7715ce44349b3" providerId="LiveId" clId="{1F031B4F-7A08-47B6-9BBE-3BE595172CA2}" dt="2023-02-15T03:53:23.748" v="982" actId="478"/>
          <ac:spMkLst>
            <pc:docMk/>
            <pc:sldMk cId="2453546627" sldId="2721"/>
            <ac:spMk id="3" creationId="{CE2529A3-BA97-486F-9E02-8DFAAA7D8D38}"/>
          </ac:spMkLst>
        </pc:spChg>
        <pc:spChg chg="add mod">
          <ac:chgData name="Aurelien Domont" userId="6da7715ce44349b3" providerId="LiveId" clId="{1F031B4F-7A08-47B6-9BBE-3BE595172CA2}" dt="2023-02-15T03:53:23.812" v="983"/>
          <ac:spMkLst>
            <pc:docMk/>
            <pc:sldMk cId="2453546627" sldId="2721"/>
            <ac:spMk id="6" creationId="{69FE31A5-F15A-B9F6-C36C-A60F35466EAF}"/>
          </ac:spMkLst>
        </pc:spChg>
      </pc:sldChg>
      <pc:sldChg chg="del">
        <pc:chgData name="Aurelien Domont" userId="6da7715ce44349b3" providerId="LiveId" clId="{1F031B4F-7A08-47B6-9BBE-3BE595172CA2}" dt="2023-02-15T23:34:19.892" v="1187" actId="47"/>
        <pc:sldMkLst>
          <pc:docMk/>
          <pc:sldMk cId="1013089024" sldId="2723"/>
        </pc:sldMkLst>
      </pc:sldChg>
      <pc:sldChg chg="del">
        <pc:chgData name="Aurelien Domont" userId="6da7715ce44349b3" providerId="LiveId" clId="{1F031B4F-7A08-47B6-9BBE-3BE595172CA2}" dt="2023-02-15T23:34:33.613" v="1191" actId="47"/>
        <pc:sldMkLst>
          <pc:docMk/>
          <pc:sldMk cId="1761575136" sldId="2724"/>
        </pc:sldMkLst>
      </pc:sldChg>
      <pc:sldChg chg="del">
        <pc:chgData name="Aurelien Domont" userId="6da7715ce44349b3" providerId="LiveId" clId="{1F031B4F-7A08-47B6-9BBE-3BE595172CA2}" dt="2023-02-15T23:34:37.623" v="1193" actId="47"/>
        <pc:sldMkLst>
          <pc:docMk/>
          <pc:sldMk cId="1092208092" sldId="2725"/>
        </pc:sldMkLst>
      </pc:sldChg>
      <pc:sldChg chg="del">
        <pc:chgData name="Aurelien Domont" userId="6da7715ce44349b3" providerId="LiveId" clId="{1F031B4F-7A08-47B6-9BBE-3BE595172CA2}" dt="2023-02-15T23:34:41.064" v="1195" actId="47"/>
        <pc:sldMkLst>
          <pc:docMk/>
          <pc:sldMk cId="2279388699" sldId="2726"/>
        </pc:sldMkLst>
      </pc:sldChg>
      <pc:sldChg chg="del">
        <pc:chgData name="Aurelien Domont" userId="6da7715ce44349b3" providerId="LiveId" clId="{1F031B4F-7A08-47B6-9BBE-3BE595172CA2}" dt="2023-02-15T23:34:44.861" v="1197" actId="47"/>
        <pc:sldMkLst>
          <pc:docMk/>
          <pc:sldMk cId="950853950" sldId="2727"/>
        </pc:sldMkLst>
      </pc:sldChg>
      <pc:sldChg chg="addSp delSp modSp del mod">
        <pc:chgData name="Aurelien Domont" userId="6da7715ce44349b3" providerId="LiveId" clId="{1F031B4F-7A08-47B6-9BBE-3BE595172CA2}" dt="2023-02-15T23:34:49.415" v="1199" actId="47"/>
        <pc:sldMkLst>
          <pc:docMk/>
          <pc:sldMk cId="486720073" sldId="2728"/>
        </pc:sldMkLst>
        <pc:spChg chg="add del mod">
          <ac:chgData name="Aurelien Domont" userId="6da7715ce44349b3" providerId="LiveId" clId="{1F031B4F-7A08-47B6-9BBE-3BE595172CA2}" dt="2023-02-15T05:29:54.522" v="1009" actId="478"/>
          <ac:spMkLst>
            <pc:docMk/>
            <pc:sldMk cId="486720073" sldId="2728"/>
            <ac:spMk id="6" creationId="{A960E174-6536-6038-1A8C-2A75C9087F35}"/>
          </ac:spMkLst>
        </pc:spChg>
      </pc:sldChg>
      <pc:sldChg chg="del">
        <pc:chgData name="Aurelien Domont" userId="6da7715ce44349b3" providerId="LiveId" clId="{1F031B4F-7A08-47B6-9BBE-3BE595172CA2}" dt="2023-02-15T23:34:52.861" v="1201" actId="47"/>
        <pc:sldMkLst>
          <pc:docMk/>
          <pc:sldMk cId="2669325020" sldId="2729"/>
        </pc:sldMkLst>
      </pc:sldChg>
      <pc:sldChg chg="del">
        <pc:chgData name="Aurelien Domont" userId="6da7715ce44349b3" providerId="LiveId" clId="{1F031B4F-7A08-47B6-9BBE-3BE595172CA2}" dt="2023-02-15T23:34:55.771" v="1203" actId="47"/>
        <pc:sldMkLst>
          <pc:docMk/>
          <pc:sldMk cId="1184053214" sldId="2730"/>
        </pc:sldMkLst>
      </pc:sldChg>
      <pc:sldChg chg="del">
        <pc:chgData name="Aurelien Domont" userId="6da7715ce44349b3" providerId="LiveId" clId="{1F031B4F-7A08-47B6-9BBE-3BE595172CA2}" dt="2023-02-15T23:35:00.972" v="1205" actId="47"/>
        <pc:sldMkLst>
          <pc:docMk/>
          <pc:sldMk cId="167756577" sldId="2731"/>
        </pc:sldMkLst>
      </pc:sldChg>
      <pc:sldChg chg="del">
        <pc:chgData name="Aurelien Domont" userId="6da7715ce44349b3" providerId="LiveId" clId="{1F031B4F-7A08-47B6-9BBE-3BE595172CA2}" dt="2023-02-15T23:35:08.236" v="1207" actId="47"/>
        <pc:sldMkLst>
          <pc:docMk/>
          <pc:sldMk cId="107333924" sldId="2732"/>
        </pc:sldMkLst>
      </pc:sldChg>
      <pc:sldChg chg="del">
        <pc:chgData name="Aurelien Domont" userId="6da7715ce44349b3" providerId="LiveId" clId="{1F031B4F-7A08-47B6-9BBE-3BE595172CA2}" dt="2023-02-15T23:35:11.741" v="1209" actId="47"/>
        <pc:sldMkLst>
          <pc:docMk/>
          <pc:sldMk cId="3299315611" sldId="2733"/>
        </pc:sldMkLst>
      </pc:sldChg>
      <pc:sldChg chg="delSp add del mod">
        <pc:chgData name="Aurelien Domont" userId="6da7715ce44349b3" providerId="LiveId" clId="{1F031B4F-7A08-47B6-9BBE-3BE595172CA2}" dt="2023-02-15T23:58:15.871" v="1531" actId="478"/>
        <pc:sldMkLst>
          <pc:docMk/>
          <pc:sldMk cId="1437605306" sldId="2734"/>
        </pc:sldMkLst>
        <pc:spChg chg="del">
          <ac:chgData name="Aurelien Domont" userId="6da7715ce44349b3" providerId="LiveId" clId="{1F031B4F-7A08-47B6-9BBE-3BE595172CA2}" dt="2023-02-15T23:58:15.871" v="1531" actId="478"/>
          <ac:spMkLst>
            <pc:docMk/>
            <pc:sldMk cId="1437605306" sldId="2734"/>
            <ac:spMk id="8" creationId="{A59D9EB3-E9B5-436C-B84C-64290C638E46}"/>
          </ac:spMkLst>
        </pc:spChg>
      </pc:sldChg>
      <pc:sldChg chg="modSp mod">
        <pc:chgData name="Aurelien Domont" userId="6da7715ce44349b3" providerId="LiveId" clId="{1F031B4F-7A08-47B6-9BBE-3BE595172CA2}" dt="2023-02-15T04:20:55.774" v="1002" actId="179"/>
        <pc:sldMkLst>
          <pc:docMk/>
          <pc:sldMk cId="3405486540" sldId="2735"/>
        </pc:sldMkLst>
        <pc:spChg chg="mod">
          <ac:chgData name="Aurelien Domont" userId="6da7715ce44349b3" providerId="LiveId" clId="{1F031B4F-7A08-47B6-9BBE-3BE595172CA2}" dt="2023-02-15T04:20:55.774" v="1002" actId="179"/>
          <ac:spMkLst>
            <pc:docMk/>
            <pc:sldMk cId="3405486540" sldId="2735"/>
            <ac:spMk id="4" creationId="{471FDD12-2524-D2C4-61FC-BBD6D7EE5522}"/>
          </ac:spMkLst>
        </pc:spChg>
      </pc:sldChg>
      <pc:sldChg chg="addSp delSp modSp add del mod">
        <pc:chgData name="Aurelien Domont" userId="6da7715ce44349b3" providerId="LiveId" clId="{1F031B4F-7A08-47B6-9BBE-3BE595172CA2}" dt="2023-02-16T02:10:41.131" v="2800" actId="47"/>
        <pc:sldMkLst>
          <pc:docMk/>
          <pc:sldMk cId="2011477896" sldId="2741"/>
        </pc:sldMkLst>
        <pc:spChg chg="add mod">
          <ac:chgData name="Aurelien Domont" userId="6da7715ce44349b3" providerId="LiveId" clId="{1F031B4F-7A08-47B6-9BBE-3BE595172CA2}" dt="2023-02-15T23:30:53.623" v="1128" actId="207"/>
          <ac:spMkLst>
            <pc:docMk/>
            <pc:sldMk cId="2011477896" sldId="2741"/>
            <ac:spMk id="2" creationId="{9FE70D06-3043-11B6-024A-E82227EDEE0C}"/>
          </ac:spMkLst>
        </pc:spChg>
        <pc:spChg chg="del">
          <ac:chgData name="Aurelien Domont" userId="6da7715ce44349b3" providerId="LiveId" clId="{1F031B4F-7A08-47B6-9BBE-3BE595172CA2}" dt="2023-02-15T23:30:42.533" v="1126" actId="478"/>
          <ac:spMkLst>
            <pc:docMk/>
            <pc:sldMk cId="2011477896" sldId="2741"/>
            <ac:spMk id="4" creationId="{DFDABEBC-4CDA-DE67-F7EF-3C9B292D3796}"/>
          </ac:spMkLst>
        </pc:spChg>
        <pc:spChg chg="add mod">
          <ac:chgData name="Aurelien Domont" userId="6da7715ce44349b3" providerId="LiveId" clId="{1F031B4F-7A08-47B6-9BBE-3BE595172CA2}" dt="2023-02-15T23:30:48.936" v="1127"/>
          <ac:spMkLst>
            <pc:docMk/>
            <pc:sldMk cId="2011477896" sldId="2741"/>
            <ac:spMk id="6" creationId="{F8A602DB-BAB2-E8C9-02B4-82814AE42E5B}"/>
          </ac:spMkLst>
        </pc:spChg>
        <pc:spChg chg="del mod">
          <ac:chgData name="Aurelien Domont" userId="6da7715ce44349b3" providerId="LiveId" clId="{1F031B4F-7A08-47B6-9BBE-3BE595172CA2}" dt="2023-02-15T23:30:42.533" v="1126" actId="478"/>
          <ac:spMkLst>
            <pc:docMk/>
            <pc:sldMk cId="2011477896" sldId="2741"/>
            <ac:spMk id="8" creationId="{72A52A59-2B0C-B438-B79F-EAD1EBFD5A88}"/>
          </ac:spMkLst>
        </pc:spChg>
        <pc:spChg chg="del">
          <ac:chgData name="Aurelien Domont" userId="6da7715ce44349b3" providerId="LiveId" clId="{1F031B4F-7A08-47B6-9BBE-3BE595172CA2}" dt="2023-02-15T23:30:42.533" v="1126" actId="478"/>
          <ac:spMkLst>
            <pc:docMk/>
            <pc:sldMk cId="2011477896" sldId="2741"/>
            <ac:spMk id="9" creationId="{0F4B39A0-2803-47D9-93AE-F99798C91F06}"/>
          </ac:spMkLst>
        </pc:spChg>
        <pc:spChg chg="del">
          <ac:chgData name="Aurelien Domont" userId="6da7715ce44349b3" providerId="LiveId" clId="{1F031B4F-7A08-47B6-9BBE-3BE595172CA2}" dt="2023-02-15T23:30:42.533" v="1126" actId="478"/>
          <ac:spMkLst>
            <pc:docMk/>
            <pc:sldMk cId="2011477896" sldId="2741"/>
            <ac:spMk id="10" creationId="{52524284-CA7D-416E-ADDB-CAB7040B62C4}"/>
          </ac:spMkLst>
        </pc:spChg>
        <pc:spChg chg="del">
          <ac:chgData name="Aurelien Domont" userId="6da7715ce44349b3" providerId="LiveId" clId="{1F031B4F-7A08-47B6-9BBE-3BE595172CA2}" dt="2023-02-15T23:30:42.533" v="1126" actId="478"/>
          <ac:spMkLst>
            <pc:docMk/>
            <pc:sldMk cId="2011477896" sldId="2741"/>
            <ac:spMk id="11" creationId="{DCA1B29F-4AB2-4DAE-B498-BC74026B1DDA}"/>
          </ac:spMkLst>
        </pc:spChg>
        <pc:spChg chg="del">
          <ac:chgData name="Aurelien Domont" userId="6da7715ce44349b3" providerId="LiveId" clId="{1F031B4F-7A08-47B6-9BBE-3BE595172CA2}" dt="2023-02-15T23:30:42.533" v="1126" actId="478"/>
          <ac:spMkLst>
            <pc:docMk/>
            <pc:sldMk cId="2011477896" sldId="2741"/>
            <ac:spMk id="12" creationId="{B9BBA604-AEF4-4807-AD42-75399F0043F4}"/>
          </ac:spMkLst>
        </pc:spChg>
        <pc:spChg chg="del mod">
          <ac:chgData name="Aurelien Domont" userId="6da7715ce44349b3" providerId="LiveId" clId="{1F031B4F-7A08-47B6-9BBE-3BE595172CA2}" dt="2023-02-15T23:30:42.533" v="1126" actId="478"/>
          <ac:spMkLst>
            <pc:docMk/>
            <pc:sldMk cId="2011477896" sldId="2741"/>
            <ac:spMk id="14" creationId="{85DB7984-08ED-9AB7-9778-BAC9EF667E17}"/>
          </ac:spMkLst>
        </pc:spChg>
        <pc:spChg chg="add mod">
          <ac:chgData name="Aurelien Domont" userId="6da7715ce44349b3" providerId="LiveId" clId="{1F031B4F-7A08-47B6-9BBE-3BE595172CA2}" dt="2023-02-15T23:30:48.936" v="1127"/>
          <ac:spMkLst>
            <pc:docMk/>
            <pc:sldMk cId="2011477896" sldId="2741"/>
            <ac:spMk id="17" creationId="{52ACDC82-8691-5BDB-91D6-DE921087B8D4}"/>
          </ac:spMkLst>
        </pc:spChg>
        <pc:spChg chg="add mod">
          <ac:chgData name="Aurelien Domont" userId="6da7715ce44349b3" providerId="LiveId" clId="{1F031B4F-7A08-47B6-9BBE-3BE595172CA2}" dt="2023-02-15T23:30:48.936" v="1127"/>
          <ac:spMkLst>
            <pc:docMk/>
            <pc:sldMk cId="2011477896" sldId="2741"/>
            <ac:spMk id="18" creationId="{77FD2EF3-83A4-B211-3969-A40207A61CA0}"/>
          </ac:spMkLst>
        </pc:spChg>
        <pc:spChg chg="add mod">
          <ac:chgData name="Aurelien Domont" userId="6da7715ce44349b3" providerId="LiveId" clId="{1F031B4F-7A08-47B6-9BBE-3BE595172CA2}" dt="2023-02-15T23:30:48.936" v="1127"/>
          <ac:spMkLst>
            <pc:docMk/>
            <pc:sldMk cId="2011477896" sldId="2741"/>
            <ac:spMk id="19" creationId="{4A4A1D3E-4695-21AD-71CE-C8D72A04A56D}"/>
          </ac:spMkLst>
        </pc:spChg>
        <pc:spChg chg="del mod">
          <ac:chgData name="Aurelien Domont" userId="6da7715ce44349b3" providerId="LiveId" clId="{1F031B4F-7A08-47B6-9BBE-3BE595172CA2}" dt="2023-02-15T23:30:42.533" v="1126" actId="478"/>
          <ac:spMkLst>
            <pc:docMk/>
            <pc:sldMk cId="2011477896" sldId="2741"/>
            <ac:spMk id="21" creationId="{65195D31-8CD1-9CAD-EDAB-5DC5BCEFF793}"/>
          </ac:spMkLst>
        </pc:spChg>
        <pc:spChg chg="del">
          <ac:chgData name="Aurelien Domont" userId="6da7715ce44349b3" providerId="LiveId" clId="{1F031B4F-7A08-47B6-9BBE-3BE595172CA2}" dt="2023-02-15T23:30:42.533" v="1126" actId="478"/>
          <ac:spMkLst>
            <pc:docMk/>
            <pc:sldMk cId="2011477896" sldId="2741"/>
            <ac:spMk id="22" creationId="{8664D20B-2002-4C9F-A94C-AB6D33819DF8}"/>
          </ac:spMkLst>
        </pc:spChg>
        <pc:spChg chg="del mod">
          <ac:chgData name="Aurelien Domont" userId="6da7715ce44349b3" providerId="LiveId" clId="{1F031B4F-7A08-47B6-9BBE-3BE595172CA2}" dt="2023-02-15T23:30:42.533" v="1126" actId="478"/>
          <ac:spMkLst>
            <pc:docMk/>
            <pc:sldMk cId="2011477896" sldId="2741"/>
            <ac:spMk id="26" creationId="{60AA3177-69A2-8959-DB8F-FDAAC70C5894}"/>
          </ac:spMkLst>
        </pc:spChg>
        <pc:spChg chg="del">
          <ac:chgData name="Aurelien Domont" userId="6da7715ce44349b3" providerId="LiveId" clId="{1F031B4F-7A08-47B6-9BBE-3BE595172CA2}" dt="2023-02-15T23:30:42.533" v="1126" actId="478"/>
          <ac:spMkLst>
            <pc:docMk/>
            <pc:sldMk cId="2011477896" sldId="2741"/>
            <ac:spMk id="27" creationId="{54BC1734-C961-49B3-BBCE-81BBEF3EFD1B}"/>
          </ac:spMkLst>
        </pc:spChg>
        <pc:spChg chg="del mod">
          <ac:chgData name="Aurelien Domont" userId="6da7715ce44349b3" providerId="LiveId" clId="{1F031B4F-7A08-47B6-9BBE-3BE595172CA2}" dt="2023-02-15T23:30:42.533" v="1126" actId="478"/>
          <ac:spMkLst>
            <pc:docMk/>
            <pc:sldMk cId="2011477896" sldId="2741"/>
            <ac:spMk id="29" creationId="{8F984EF8-19B2-4B5E-98EC-433CCE26E2A7}"/>
          </ac:spMkLst>
        </pc:spChg>
        <pc:spChg chg="del">
          <ac:chgData name="Aurelien Domont" userId="6da7715ce44349b3" providerId="LiveId" clId="{1F031B4F-7A08-47B6-9BBE-3BE595172CA2}" dt="2023-02-15T23:30:42.533" v="1126" actId="478"/>
          <ac:spMkLst>
            <pc:docMk/>
            <pc:sldMk cId="2011477896" sldId="2741"/>
            <ac:spMk id="31" creationId="{1C1B78F5-CE09-4A06-8F1D-30227B5D6E15}"/>
          </ac:spMkLst>
        </pc:spChg>
        <pc:spChg chg="del">
          <ac:chgData name="Aurelien Domont" userId="6da7715ce44349b3" providerId="LiveId" clId="{1F031B4F-7A08-47B6-9BBE-3BE595172CA2}" dt="2023-02-15T23:30:42.533" v="1126" actId="478"/>
          <ac:spMkLst>
            <pc:docMk/>
            <pc:sldMk cId="2011477896" sldId="2741"/>
            <ac:spMk id="32" creationId="{3BEF6079-F38C-4B82-B044-53A13155F334}"/>
          </ac:spMkLst>
        </pc:spChg>
        <pc:spChg chg="del">
          <ac:chgData name="Aurelien Domont" userId="6da7715ce44349b3" providerId="LiveId" clId="{1F031B4F-7A08-47B6-9BBE-3BE595172CA2}" dt="2023-02-15T23:30:42.533" v="1126" actId="478"/>
          <ac:spMkLst>
            <pc:docMk/>
            <pc:sldMk cId="2011477896" sldId="2741"/>
            <ac:spMk id="33" creationId="{8260BE05-FEA7-4631-88CD-752AC5C966BA}"/>
          </ac:spMkLst>
        </pc:spChg>
        <pc:spChg chg="del">
          <ac:chgData name="Aurelien Domont" userId="6da7715ce44349b3" providerId="LiveId" clId="{1F031B4F-7A08-47B6-9BBE-3BE595172CA2}" dt="2023-02-15T23:30:42.533" v="1126" actId="478"/>
          <ac:spMkLst>
            <pc:docMk/>
            <pc:sldMk cId="2011477896" sldId="2741"/>
            <ac:spMk id="34" creationId="{473B4042-51F1-41BD-8EDF-E03E66716A5A}"/>
          </ac:spMkLst>
        </pc:spChg>
        <pc:spChg chg="del">
          <ac:chgData name="Aurelien Domont" userId="6da7715ce44349b3" providerId="LiveId" clId="{1F031B4F-7A08-47B6-9BBE-3BE595172CA2}" dt="2023-02-15T23:30:42.533" v="1126" actId="478"/>
          <ac:spMkLst>
            <pc:docMk/>
            <pc:sldMk cId="2011477896" sldId="2741"/>
            <ac:spMk id="35" creationId="{64C38490-8643-4DBA-8D8B-54C587ECA10D}"/>
          </ac:spMkLst>
        </pc:spChg>
        <pc:spChg chg="add mod">
          <ac:chgData name="Aurelien Domont" userId="6da7715ce44349b3" providerId="LiveId" clId="{1F031B4F-7A08-47B6-9BBE-3BE595172CA2}" dt="2023-02-15T23:30:56.035" v="1129" actId="207"/>
          <ac:spMkLst>
            <pc:docMk/>
            <pc:sldMk cId="2011477896" sldId="2741"/>
            <ac:spMk id="38" creationId="{B6959F9D-CC40-4BE0-8CFA-346DC041EA6E}"/>
          </ac:spMkLst>
        </pc:spChg>
        <pc:spChg chg="add mod">
          <ac:chgData name="Aurelien Domont" userId="6da7715ce44349b3" providerId="LiveId" clId="{1F031B4F-7A08-47B6-9BBE-3BE595172CA2}" dt="2023-02-15T23:30:48.936" v="1127"/>
          <ac:spMkLst>
            <pc:docMk/>
            <pc:sldMk cId="2011477896" sldId="2741"/>
            <ac:spMk id="39" creationId="{D9C5E114-34CC-B4EB-96E4-30F57CC550BC}"/>
          </ac:spMkLst>
        </pc:spChg>
        <pc:spChg chg="add mod">
          <ac:chgData name="Aurelien Domont" userId="6da7715ce44349b3" providerId="LiveId" clId="{1F031B4F-7A08-47B6-9BBE-3BE595172CA2}" dt="2023-02-15T23:30:48.936" v="1127"/>
          <ac:spMkLst>
            <pc:docMk/>
            <pc:sldMk cId="2011477896" sldId="2741"/>
            <ac:spMk id="40" creationId="{4F493C7D-651D-3A2C-F910-4D5DEB6ECB2F}"/>
          </ac:spMkLst>
        </pc:spChg>
        <pc:spChg chg="add mod">
          <ac:chgData name="Aurelien Domont" userId="6da7715ce44349b3" providerId="LiveId" clId="{1F031B4F-7A08-47B6-9BBE-3BE595172CA2}" dt="2023-02-15T23:30:48.936" v="1127"/>
          <ac:spMkLst>
            <pc:docMk/>
            <pc:sldMk cId="2011477896" sldId="2741"/>
            <ac:spMk id="41" creationId="{C9FF966C-11ED-89AB-C9F6-7EB22196A49D}"/>
          </ac:spMkLst>
        </pc:spChg>
        <pc:spChg chg="add mod">
          <ac:chgData name="Aurelien Domont" userId="6da7715ce44349b3" providerId="LiveId" clId="{1F031B4F-7A08-47B6-9BBE-3BE595172CA2}" dt="2023-02-15T23:30:48.936" v="1127"/>
          <ac:spMkLst>
            <pc:docMk/>
            <pc:sldMk cId="2011477896" sldId="2741"/>
            <ac:spMk id="42" creationId="{30AF03A0-57E0-FFAC-BF34-D34C5609D831}"/>
          </ac:spMkLst>
        </pc:spChg>
        <pc:spChg chg="add mod">
          <ac:chgData name="Aurelien Domont" userId="6da7715ce44349b3" providerId="LiveId" clId="{1F031B4F-7A08-47B6-9BBE-3BE595172CA2}" dt="2023-02-15T23:30:48.936" v="1127"/>
          <ac:spMkLst>
            <pc:docMk/>
            <pc:sldMk cId="2011477896" sldId="2741"/>
            <ac:spMk id="43" creationId="{094F78F0-AEA8-5E0A-48F8-FDBE74DD7A34}"/>
          </ac:spMkLst>
        </pc:spChg>
        <pc:spChg chg="add mod">
          <ac:chgData name="Aurelien Domont" userId="6da7715ce44349b3" providerId="LiveId" clId="{1F031B4F-7A08-47B6-9BBE-3BE595172CA2}" dt="2023-02-15T23:30:48.936" v="1127"/>
          <ac:spMkLst>
            <pc:docMk/>
            <pc:sldMk cId="2011477896" sldId="2741"/>
            <ac:spMk id="44" creationId="{600F7DCD-BAFD-F8DA-9B79-43CF30D7F0E9}"/>
          </ac:spMkLst>
        </pc:spChg>
        <pc:spChg chg="add del mod">
          <ac:chgData name="Aurelien Domont" userId="6da7715ce44349b3" providerId="LiveId" clId="{1F031B4F-7A08-47B6-9BBE-3BE595172CA2}" dt="2023-02-16T02:02:03.743" v="2515" actId="21"/>
          <ac:spMkLst>
            <pc:docMk/>
            <pc:sldMk cId="2011477896" sldId="2741"/>
            <ac:spMk id="45" creationId="{899F843F-906F-4482-102B-CB0FEE402FBD}"/>
          </ac:spMkLst>
        </pc:spChg>
        <pc:spChg chg="add del mod">
          <ac:chgData name="Aurelien Domont" userId="6da7715ce44349b3" providerId="LiveId" clId="{1F031B4F-7A08-47B6-9BBE-3BE595172CA2}" dt="2023-02-16T02:06:02.143" v="2665" actId="478"/>
          <ac:spMkLst>
            <pc:docMk/>
            <pc:sldMk cId="2011477896" sldId="2741"/>
            <ac:spMk id="47" creationId="{BA4E1486-CED8-EA56-A33E-98F871C54699}"/>
          </ac:spMkLst>
        </pc:spChg>
        <pc:spChg chg="add del mod">
          <ac:chgData name="Aurelien Domont" userId="6da7715ce44349b3" providerId="LiveId" clId="{1F031B4F-7A08-47B6-9BBE-3BE595172CA2}" dt="2023-02-16T02:07:42.658" v="2725" actId="478"/>
          <ac:spMkLst>
            <pc:docMk/>
            <pc:sldMk cId="2011477896" sldId="2741"/>
            <ac:spMk id="48" creationId="{2C7343C0-3B56-4E86-079A-352D83701505}"/>
          </ac:spMkLst>
        </pc:spChg>
        <pc:spChg chg="add mod">
          <ac:chgData name="Aurelien Domont" userId="6da7715ce44349b3" providerId="LiveId" clId="{1F031B4F-7A08-47B6-9BBE-3BE595172CA2}" dt="2023-02-16T02:09:10.269" v="2791" actId="20577"/>
          <ac:spMkLst>
            <pc:docMk/>
            <pc:sldMk cId="2011477896" sldId="2741"/>
            <ac:spMk id="49" creationId="{2DDCEE89-B622-27A5-2017-A424C49B2776}"/>
          </ac:spMkLst>
        </pc:spChg>
        <pc:spChg chg="add del mod">
          <ac:chgData name="Aurelien Domont" userId="6da7715ce44349b3" providerId="LiveId" clId="{1F031B4F-7A08-47B6-9BBE-3BE595172CA2}" dt="2023-02-16T02:01:56.891" v="2512" actId="478"/>
          <ac:spMkLst>
            <pc:docMk/>
            <pc:sldMk cId="2011477896" sldId="2741"/>
            <ac:spMk id="50" creationId="{C9C7C43C-3CE2-8F96-C8FE-76A792E8E28C}"/>
          </ac:spMkLst>
        </pc:spChg>
        <pc:spChg chg="add mod">
          <ac:chgData name="Aurelien Domont" userId="6da7715ce44349b3" providerId="LiveId" clId="{1F031B4F-7A08-47B6-9BBE-3BE595172CA2}" dt="2023-02-16T01:58:43.097" v="2413" actId="207"/>
          <ac:spMkLst>
            <pc:docMk/>
            <pc:sldMk cId="2011477896" sldId="2741"/>
            <ac:spMk id="51" creationId="{CCB88623-C567-7309-9B62-838FE94D3453}"/>
          </ac:spMkLst>
        </pc:spChg>
        <pc:picChg chg="del">
          <ac:chgData name="Aurelien Domont" userId="6da7715ce44349b3" providerId="LiveId" clId="{1F031B4F-7A08-47B6-9BBE-3BE595172CA2}" dt="2023-02-15T23:30:42.533" v="1126" actId="478"/>
          <ac:picMkLst>
            <pc:docMk/>
            <pc:sldMk cId="2011477896" sldId="2741"/>
            <ac:picMk id="5" creationId="{B591932E-445E-4FC6-BA49-B391B8DCAC7A}"/>
          </ac:picMkLst>
        </pc:picChg>
        <pc:picChg chg="del">
          <ac:chgData name="Aurelien Domont" userId="6da7715ce44349b3" providerId="LiveId" clId="{1F031B4F-7A08-47B6-9BBE-3BE595172CA2}" dt="2023-02-15T23:30:42.533" v="1126" actId="478"/>
          <ac:picMkLst>
            <pc:docMk/>
            <pc:sldMk cId="2011477896" sldId="2741"/>
            <ac:picMk id="7" creationId="{F8BDF65F-C179-4D90-9DAF-9A04B8C11C0C}"/>
          </ac:picMkLst>
        </pc:picChg>
        <pc:picChg chg="add mod">
          <ac:chgData name="Aurelien Domont" userId="6da7715ce44349b3" providerId="LiveId" clId="{1F031B4F-7A08-47B6-9BBE-3BE595172CA2}" dt="2023-02-15T23:30:48.936" v="1127"/>
          <ac:picMkLst>
            <pc:docMk/>
            <pc:sldMk cId="2011477896" sldId="2741"/>
            <ac:picMk id="20" creationId="{B00A49C2-72BF-2094-DF90-799F1324A14B}"/>
          </ac:picMkLst>
        </pc:picChg>
        <pc:picChg chg="add mod">
          <ac:chgData name="Aurelien Domont" userId="6da7715ce44349b3" providerId="LiveId" clId="{1F031B4F-7A08-47B6-9BBE-3BE595172CA2}" dt="2023-02-15T23:30:48.936" v="1127"/>
          <ac:picMkLst>
            <pc:docMk/>
            <pc:sldMk cId="2011477896" sldId="2741"/>
            <ac:picMk id="23" creationId="{68918C5A-A036-E8ED-A815-99AB6C53E96C}"/>
          </ac:picMkLst>
        </pc:picChg>
        <pc:picChg chg="del">
          <ac:chgData name="Aurelien Domont" userId="6da7715ce44349b3" providerId="LiveId" clId="{1F031B4F-7A08-47B6-9BBE-3BE595172CA2}" dt="2023-02-15T23:30:42.533" v="1126" actId="478"/>
          <ac:picMkLst>
            <pc:docMk/>
            <pc:sldMk cId="2011477896" sldId="2741"/>
            <ac:picMk id="24" creationId="{D2DB75A5-E17D-431C-A54A-40A06ADDBEF3}"/>
          </ac:picMkLst>
        </pc:picChg>
        <pc:picChg chg="del">
          <ac:chgData name="Aurelien Domont" userId="6da7715ce44349b3" providerId="LiveId" clId="{1F031B4F-7A08-47B6-9BBE-3BE595172CA2}" dt="2023-02-15T23:30:42.533" v="1126" actId="478"/>
          <ac:picMkLst>
            <pc:docMk/>
            <pc:sldMk cId="2011477896" sldId="2741"/>
            <ac:picMk id="25" creationId="{86024EC3-117C-470E-8D6A-4C9B8B7C4E90}"/>
          </ac:picMkLst>
        </pc:picChg>
        <pc:picChg chg="add mod">
          <ac:chgData name="Aurelien Domont" userId="6da7715ce44349b3" providerId="LiveId" clId="{1F031B4F-7A08-47B6-9BBE-3BE595172CA2}" dt="2023-02-15T23:30:48.936" v="1127"/>
          <ac:picMkLst>
            <pc:docMk/>
            <pc:sldMk cId="2011477896" sldId="2741"/>
            <ac:picMk id="28" creationId="{07C71AD7-6DDE-A10D-8E32-56092C2F51C3}"/>
          </ac:picMkLst>
        </pc:picChg>
        <pc:picChg chg="del">
          <ac:chgData name="Aurelien Domont" userId="6da7715ce44349b3" providerId="LiveId" clId="{1F031B4F-7A08-47B6-9BBE-3BE595172CA2}" dt="2023-02-15T23:30:42.533" v="1126" actId="478"/>
          <ac:picMkLst>
            <pc:docMk/>
            <pc:sldMk cId="2011477896" sldId="2741"/>
            <ac:picMk id="30" creationId="{39260E92-FADF-4076-9052-5C1B0040ACAE}"/>
          </ac:picMkLst>
        </pc:picChg>
        <pc:picChg chg="add mod">
          <ac:chgData name="Aurelien Domont" userId="6da7715ce44349b3" providerId="LiveId" clId="{1F031B4F-7A08-47B6-9BBE-3BE595172CA2}" dt="2023-02-15T23:30:48.936" v="1127"/>
          <ac:picMkLst>
            <pc:docMk/>
            <pc:sldMk cId="2011477896" sldId="2741"/>
            <ac:picMk id="36" creationId="{79631AAF-51A8-EF65-9048-679C37AD76FF}"/>
          </ac:picMkLst>
        </pc:picChg>
        <pc:picChg chg="add mod">
          <ac:chgData name="Aurelien Domont" userId="6da7715ce44349b3" providerId="LiveId" clId="{1F031B4F-7A08-47B6-9BBE-3BE595172CA2}" dt="2023-02-15T23:30:48.936" v="1127"/>
          <ac:picMkLst>
            <pc:docMk/>
            <pc:sldMk cId="2011477896" sldId="2741"/>
            <ac:picMk id="37" creationId="{C19E0D91-BC47-34DE-8F70-9F255B976A5B}"/>
          </ac:picMkLst>
        </pc:picChg>
        <pc:cxnChg chg="del">
          <ac:chgData name="Aurelien Domont" userId="6da7715ce44349b3" providerId="LiveId" clId="{1F031B4F-7A08-47B6-9BBE-3BE595172CA2}" dt="2023-02-15T23:30:42.533" v="1126" actId="478"/>
          <ac:cxnSpMkLst>
            <pc:docMk/>
            <pc:sldMk cId="2011477896" sldId="2741"/>
            <ac:cxnSpMk id="15" creationId="{2F1CB0CC-174D-DC9F-858B-0C02A80273D2}"/>
          </ac:cxnSpMkLst>
        </pc:cxnChg>
        <pc:cxnChg chg="add mod">
          <ac:chgData name="Aurelien Domont" userId="6da7715ce44349b3" providerId="LiveId" clId="{1F031B4F-7A08-47B6-9BBE-3BE595172CA2}" dt="2023-02-15T23:30:48.936" v="1127"/>
          <ac:cxnSpMkLst>
            <pc:docMk/>
            <pc:sldMk cId="2011477896" sldId="2741"/>
            <ac:cxnSpMk id="46" creationId="{077FA539-2841-3869-06A0-8F85CA40F8CB}"/>
          </ac:cxnSpMkLst>
        </pc:cxnChg>
      </pc:sldChg>
      <pc:sldChg chg="modSp mod">
        <pc:chgData name="Aurelien Domont" userId="6da7715ce44349b3" providerId="LiveId" clId="{1F031B4F-7A08-47B6-9BBE-3BE595172CA2}" dt="2023-02-15T05:43:27.044" v="1013" actId="20577"/>
        <pc:sldMkLst>
          <pc:docMk/>
          <pc:sldMk cId="544850422" sldId="2743"/>
        </pc:sldMkLst>
        <pc:spChg chg="mod">
          <ac:chgData name="Aurelien Domont" userId="6da7715ce44349b3" providerId="LiveId" clId="{1F031B4F-7A08-47B6-9BBE-3BE595172CA2}" dt="2023-02-15T05:43:27.044" v="1013" actId="20577"/>
          <ac:spMkLst>
            <pc:docMk/>
            <pc:sldMk cId="544850422" sldId="2743"/>
            <ac:spMk id="55" creationId="{617468D6-BD3B-9CF9-8959-2A07D592967A}"/>
          </ac:spMkLst>
        </pc:spChg>
      </pc:sldChg>
      <pc:sldChg chg="addSp delSp modSp mod">
        <pc:chgData name="Aurelien Domont" userId="6da7715ce44349b3" providerId="LiveId" clId="{1F031B4F-7A08-47B6-9BBE-3BE595172CA2}" dt="2023-02-15T05:46:50.014" v="1017" actId="165"/>
        <pc:sldMkLst>
          <pc:docMk/>
          <pc:sldMk cId="351876817" sldId="2744"/>
        </pc:sldMkLst>
        <pc:spChg chg="mod topLvl">
          <ac:chgData name="Aurelien Domont" userId="6da7715ce44349b3" providerId="LiveId" clId="{1F031B4F-7A08-47B6-9BBE-3BE595172CA2}" dt="2023-02-15T05:46:50.014" v="1017" actId="165"/>
          <ac:spMkLst>
            <pc:docMk/>
            <pc:sldMk cId="351876817" sldId="2744"/>
            <ac:spMk id="40" creationId="{E741BEDE-FDB4-A4AE-FA5A-CDB056339518}"/>
          </ac:spMkLst>
        </pc:spChg>
        <pc:spChg chg="mod topLvl">
          <ac:chgData name="Aurelien Domont" userId="6da7715ce44349b3" providerId="LiveId" clId="{1F031B4F-7A08-47B6-9BBE-3BE595172CA2}" dt="2023-02-15T05:46:50.014" v="1017" actId="165"/>
          <ac:spMkLst>
            <pc:docMk/>
            <pc:sldMk cId="351876817" sldId="2744"/>
            <ac:spMk id="41" creationId="{99EF11D5-819C-5E0E-944C-2BDBED297643}"/>
          </ac:spMkLst>
        </pc:spChg>
        <pc:spChg chg="mod topLvl">
          <ac:chgData name="Aurelien Domont" userId="6da7715ce44349b3" providerId="LiveId" clId="{1F031B4F-7A08-47B6-9BBE-3BE595172CA2}" dt="2023-02-15T05:46:50.014" v="1017" actId="165"/>
          <ac:spMkLst>
            <pc:docMk/>
            <pc:sldMk cId="351876817" sldId="2744"/>
            <ac:spMk id="42" creationId="{BD87F733-26CF-9BD7-0742-B1D42ADCA1D5}"/>
          </ac:spMkLst>
        </pc:spChg>
        <pc:spChg chg="mod topLvl">
          <ac:chgData name="Aurelien Domont" userId="6da7715ce44349b3" providerId="LiveId" clId="{1F031B4F-7A08-47B6-9BBE-3BE595172CA2}" dt="2023-02-15T05:46:50.014" v="1017" actId="165"/>
          <ac:spMkLst>
            <pc:docMk/>
            <pc:sldMk cId="351876817" sldId="2744"/>
            <ac:spMk id="43" creationId="{00E45C36-3F16-7E1A-1C23-68176811BDA6}"/>
          </ac:spMkLst>
        </pc:spChg>
        <pc:spChg chg="mod topLvl">
          <ac:chgData name="Aurelien Domont" userId="6da7715ce44349b3" providerId="LiveId" clId="{1F031B4F-7A08-47B6-9BBE-3BE595172CA2}" dt="2023-02-15T05:46:50.014" v="1017" actId="165"/>
          <ac:spMkLst>
            <pc:docMk/>
            <pc:sldMk cId="351876817" sldId="2744"/>
            <ac:spMk id="44" creationId="{D8BCB293-39C6-7A70-5DAB-A529903DCE84}"/>
          </ac:spMkLst>
        </pc:spChg>
        <pc:grpChg chg="add del mod">
          <ac:chgData name="Aurelien Domont" userId="6da7715ce44349b3" providerId="LiveId" clId="{1F031B4F-7A08-47B6-9BBE-3BE595172CA2}" dt="2023-02-15T05:46:50.014" v="1017" actId="165"/>
          <ac:grpSpMkLst>
            <pc:docMk/>
            <pc:sldMk cId="351876817" sldId="2744"/>
            <ac:grpSpMk id="2" creationId="{238C6A5F-70E8-D0AA-C607-3E905217085A}"/>
          </ac:grpSpMkLst>
        </pc:grpChg>
      </pc:sldChg>
      <pc:sldChg chg="del">
        <pc:chgData name="Aurelien Domont" userId="6da7715ce44349b3" providerId="LiveId" clId="{1F031B4F-7A08-47B6-9BBE-3BE595172CA2}" dt="2023-02-15T23:35:16.004" v="1211" actId="47"/>
        <pc:sldMkLst>
          <pc:docMk/>
          <pc:sldMk cId="3112163889" sldId="2751"/>
        </pc:sldMkLst>
      </pc:sldChg>
      <pc:sldChg chg="delSp del mod">
        <pc:chgData name="Aurelien Domont" userId="6da7715ce44349b3" providerId="LiveId" clId="{1F031B4F-7A08-47B6-9BBE-3BE595172CA2}" dt="2023-02-15T23:35:50.163" v="1220" actId="47"/>
        <pc:sldMkLst>
          <pc:docMk/>
          <pc:sldMk cId="1126955548" sldId="2752"/>
        </pc:sldMkLst>
        <pc:spChg chg="del">
          <ac:chgData name="Aurelien Domont" userId="6da7715ce44349b3" providerId="LiveId" clId="{1F031B4F-7A08-47B6-9BBE-3BE595172CA2}" dt="2023-02-15T23:35:26.405" v="1213" actId="21"/>
          <ac:spMkLst>
            <pc:docMk/>
            <pc:sldMk cId="1126955548" sldId="2752"/>
            <ac:spMk id="2" creationId="{F8F72663-1D50-89AE-398A-6464703B0F60}"/>
          </ac:spMkLst>
        </pc:spChg>
      </pc:sldChg>
      <pc:sldChg chg="del">
        <pc:chgData name="Aurelien Domont" userId="6da7715ce44349b3" providerId="LiveId" clId="{1F031B4F-7A08-47B6-9BBE-3BE595172CA2}" dt="2023-02-15T23:36:54.158" v="1227" actId="47"/>
        <pc:sldMkLst>
          <pc:docMk/>
          <pc:sldMk cId="2277803655" sldId="2753"/>
        </pc:sldMkLst>
      </pc:sldChg>
      <pc:sldChg chg="del">
        <pc:chgData name="Aurelien Domont" userId="6da7715ce44349b3" providerId="LiveId" clId="{1F031B4F-7A08-47B6-9BBE-3BE595172CA2}" dt="2023-02-15T23:37:04.506" v="1229" actId="47"/>
        <pc:sldMkLst>
          <pc:docMk/>
          <pc:sldMk cId="2207039784" sldId="2754"/>
        </pc:sldMkLst>
      </pc:sldChg>
      <pc:sldChg chg="del">
        <pc:chgData name="Aurelien Domont" userId="6da7715ce44349b3" providerId="LiveId" clId="{1F031B4F-7A08-47B6-9BBE-3BE595172CA2}" dt="2023-02-15T23:37:24.007" v="1239" actId="47"/>
        <pc:sldMkLst>
          <pc:docMk/>
          <pc:sldMk cId="1184178972" sldId="2755"/>
        </pc:sldMkLst>
      </pc:sldChg>
      <pc:sldChg chg="del">
        <pc:chgData name="Aurelien Domont" userId="6da7715ce44349b3" providerId="LiveId" clId="{1F031B4F-7A08-47B6-9BBE-3BE595172CA2}" dt="2023-02-15T23:37:09.334" v="1231" actId="47"/>
        <pc:sldMkLst>
          <pc:docMk/>
          <pc:sldMk cId="1624697953" sldId="2756"/>
        </pc:sldMkLst>
      </pc:sldChg>
      <pc:sldChg chg="del">
        <pc:chgData name="Aurelien Domont" userId="6da7715ce44349b3" providerId="LiveId" clId="{1F031B4F-7A08-47B6-9BBE-3BE595172CA2}" dt="2023-02-15T23:37:12.757" v="1233" actId="47"/>
        <pc:sldMkLst>
          <pc:docMk/>
          <pc:sldMk cId="1564075144" sldId="2757"/>
        </pc:sldMkLst>
      </pc:sldChg>
      <pc:sldChg chg="del">
        <pc:chgData name="Aurelien Domont" userId="6da7715ce44349b3" providerId="LiveId" clId="{1F031B4F-7A08-47B6-9BBE-3BE595172CA2}" dt="2023-02-15T23:37:16.433" v="1235" actId="47"/>
        <pc:sldMkLst>
          <pc:docMk/>
          <pc:sldMk cId="4223508036" sldId="2758"/>
        </pc:sldMkLst>
      </pc:sldChg>
      <pc:sldChg chg="del">
        <pc:chgData name="Aurelien Domont" userId="6da7715ce44349b3" providerId="LiveId" clId="{1F031B4F-7A08-47B6-9BBE-3BE595172CA2}" dt="2023-02-15T23:37:19.271" v="1237" actId="47"/>
        <pc:sldMkLst>
          <pc:docMk/>
          <pc:sldMk cId="3910845306" sldId="2759"/>
        </pc:sldMkLst>
      </pc:sldChg>
      <pc:sldChg chg="modSp mod">
        <pc:chgData name="Aurelien Domont" userId="6da7715ce44349b3" providerId="LiveId" clId="{1F031B4F-7A08-47B6-9BBE-3BE595172CA2}" dt="2023-02-16T00:15:21.538" v="1747" actId="179"/>
        <pc:sldMkLst>
          <pc:docMk/>
          <pc:sldMk cId="3324380418" sldId="2761"/>
        </pc:sldMkLst>
        <pc:spChg chg="mod">
          <ac:chgData name="Aurelien Domont" userId="6da7715ce44349b3" providerId="LiveId" clId="{1F031B4F-7A08-47B6-9BBE-3BE595172CA2}" dt="2023-02-16T00:15:21.538" v="1747" actId="179"/>
          <ac:spMkLst>
            <pc:docMk/>
            <pc:sldMk cId="3324380418" sldId="2761"/>
            <ac:spMk id="9" creationId="{45BDE959-4478-A6AA-F697-2B9B1E293F12}"/>
          </ac:spMkLst>
        </pc:spChg>
        <pc:spChg chg="mod">
          <ac:chgData name="Aurelien Domont" userId="6da7715ce44349b3" providerId="LiveId" clId="{1F031B4F-7A08-47B6-9BBE-3BE595172CA2}" dt="2023-02-16T00:14:54.025" v="1738" actId="20577"/>
          <ac:spMkLst>
            <pc:docMk/>
            <pc:sldMk cId="3324380418" sldId="2761"/>
            <ac:spMk id="16" creationId="{6C2BB713-9637-4B9B-938F-E9768876782A}"/>
          </ac:spMkLst>
        </pc:spChg>
      </pc:sldChg>
      <pc:sldChg chg="modSp mod">
        <pc:chgData name="Aurelien Domont" userId="6da7715ce44349b3" providerId="LiveId" clId="{1F031B4F-7A08-47B6-9BBE-3BE595172CA2}" dt="2023-02-15T05:58:03.878" v="1043" actId="179"/>
        <pc:sldMkLst>
          <pc:docMk/>
          <pc:sldMk cId="2379980393" sldId="2763"/>
        </pc:sldMkLst>
        <pc:spChg chg="mod">
          <ac:chgData name="Aurelien Domont" userId="6da7715ce44349b3" providerId="LiveId" clId="{1F031B4F-7A08-47B6-9BBE-3BE595172CA2}" dt="2023-02-15T05:58:03.878" v="1043" actId="179"/>
          <ac:spMkLst>
            <pc:docMk/>
            <pc:sldMk cId="2379980393" sldId="2763"/>
            <ac:spMk id="5" creationId="{5A087049-D85B-5791-D822-A7F65EC7D2B8}"/>
          </ac:spMkLst>
        </pc:spChg>
      </pc:sldChg>
      <pc:sldChg chg="del">
        <pc:chgData name="Aurelien Domont" userId="6da7715ce44349b3" providerId="LiveId" clId="{1F031B4F-7A08-47B6-9BBE-3BE595172CA2}" dt="2023-02-16T00:15:27.089" v="1748" actId="47"/>
        <pc:sldMkLst>
          <pc:docMk/>
          <pc:sldMk cId="4071876498" sldId="2764"/>
        </pc:sldMkLst>
      </pc:sldChg>
      <pc:sldChg chg="modSp mod">
        <pc:chgData name="Aurelien Domont" userId="6da7715ce44349b3" providerId="LiveId" clId="{1F031B4F-7A08-47B6-9BBE-3BE595172CA2}" dt="2023-02-15T06:04:22.981" v="1044" actId="14100"/>
        <pc:sldMkLst>
          <pc:docMk/>
          <pc:sldMk cId="1468999048" sldId="2766"/>
        </pc:sldMkLst>
        <pc:spChg chg="mod">
          <ac:chgData name="Aurelien Domont" userId="6da7715ce44349b3" providerId="LiveId" clId="{1F031B4F-7A08-47B6-9BBE-3BE595172CA2}" dt="2023-02-15T06:04:22.981" v="1044" actId="14100"/>
          <ac:spMkLst>
            <pc:docMk/>
            <pc:sldMk cId="1468999048" sldId="2766"/>
            <ac:spMk id="6" creationId="{B4E7DAA2-AD03-0CB7-A53B-9AF2A3C68642}"/>
          </ac:spMkLst>
        </pc:spChg>
        <pc:spChg chg="mod">
          <ac:chgData name="Aurelien Domont" userId="6da7715ce44349b3" providerId="LiveId" clId="{1F031B4F-7A08-47B6-9BBE-3BE595172CA2}" dt="2023-02-15T06:04:22.981" v="1044" actId="14100"/>
          <ac:spMkLst>
            <pc:docMk/>
            <pc:sldMk cId="1468999048" sldId="2766"/>
            <ac:spMk id="7" creationId="{2B9BB384-F195-2AFF-7994-05D39A9EAB76}"/>
          </ac:spMkLst>
        </pc:spChg>
      </pc:sldChg>
      <pc:sldChg chg="del">
        <pc:chgData name="Aurelien Domont" userId="6da7715ce44349b3" providerId="LiveId" clId="{1F031B4F-7A08-47B6-9BBE-3BE595172CA2}" dt="2023-02-15T23:37:26.914" v="1241" actId="47"/>
        <pc:sldMkLst>
          <pc:docMk/>
          <pc:sldMk cId="1332186064" sldId="2772"/>
        </pc:sldMkLst>
      </pc:sldChg>
      <pc:sldChg chg="del">
        <pc:chgData name="Aurelien Domont" userId="6da7715ce44349b3" providerId="LiveId" clId="{1F031B4F-7A08-47B6-9BBE-3BE595172CA2}" dt="2023-02-15T23:37:30.419" v="1243" actId="47"/>
        <pc:sldMkLst>
          <pc:docMk/>
          <pc:sldMk cId="2037395001" sldId="2773"/>
        </pc:sldMkLst>
      </pc:sldChg>
      <pc:sldChg chg="del">
        <pc:chgData name="Aurelien Domont" userId="6da7715ce44349b3" providerId="LiveId" clId="{1F031B4F-7A08-47B6-9BBE-3BE595172CA2}" dt="2023-02-15T23:37:34.285" v="1245" actId="47"/>
        <pc:sldMkLst>
          <pc:docMk/>
          <pc:sldMk cId="1754354637" sldId="2774"/>
        </pc:sldMkLst>
      </pc:sldChg>
      <pc:sldChg chg="del">
        <pc:chgData name="Aurelien Domont" userId="6da7715ce44349b3" providerId="LiveId" clId="{1F031B4F-7A08-47B6-9BBE-3BE595172CA2}" dt="2023-02-15T23:37:37.450" v="1247" actId="47"/>
        <pc:sldMkLst>
          <pc:docMk/>
          <pc:sldMk cId="2314066330" sldId="2775"/>
        </pc:sldMkLst>
      </pc:sldChg>
      <pc:sldChg chg="del">
        <pc:chgData name="Aurelien Domont" userId="6da7715ce44349b3" providerId="LiveId" clId="{1F031B4F-7A08-47B6-9BBE-3BE595172CA2}" dt="2023-02-15T23:37:40.967" v="1249" actId="47"/>
        <pc:sldMkLst>
          <pc:docMk/>
          <pc:sldMk cId="3099684635" sldId="2776"/>
        </pc:sldMkLst>
      </pc:sldChg>
      <pc:sldChg chg="del">
        <pc:chgData name="Aurelien Domont" userId="6da7715ce44349b3" providerId="LiveId" clId="{1F031B4F-7A08-47B6-9BBE-3BE595172CA2}" dt="2023-02-15T23:37:44.045" v="1251" actId="47"/>
        <pc:sldMkLst>
          <pc:docMk/>
          <pc:sldMk cId="761543894" sldId="2777"/>
        </pc:sldMkLst>
      </pc:sldChg>
      <pc:sldChg chg="del">
        <pc:chgData name="Aurelien Domont" userId="6da7715ce44349b3" providerId="LiveId" clId="{1F031B4F-7A08-47B6-9BBE-3BE595172CA2}" dt="2023-02-15T23:37:46.920" v="1253" actId="47"/>
        <pc:sldMkLst>
          <pc:docMk/>
          <pc:sldMk cId="3910541140" sldId="2779"/>
        </pc:sldMkLst>
      </pc:sldChg>
      <pc:sldChg chg="del">
        <pc:chgData name="Aurelien Domont" userId="6da7715ce44349b3" providerId="LiveId" clId="{1F031B4F-7A08-47B6-9BBE-3BE595172CA2}" dt="2023-02-15T23:37:51.014" v="1255" actId="47"/>
        <pc:sldMkLst>
          <pc:docMk/>
          <pc:sldMk cId="629347378" sldId="2780"/>
        </pc:sldMkLst>
      </pc:sldChg>
      <pc:sldChg chg="del">
        <pc:chgData name="Aurelien Domont" userId="6da7715ce44349b3" providerId="LiveId" clId="{1F031B4F-7A08-47B6-9BBE-3BE595172CA2}" dt="2023-02-15T23:37:55.180" v="1257" actId="47"/>
        <pc:sldMkLst>
          <pc:docMk/>
          <pc:sldMk cId="1577185624" sldId="2781"/>
        </pc:sldMkLst>
      </pc:sldChg>
      <pc:sldChg chg="modSp mod">
        <pc:chgData name="Aurelien Domont" userId="6da7715ce44349b3" providerId="LiveId" clId="{1F031B4F-7A08-47B6-9BBE-3BE595172CA2}" dt="2023-02-16T00:16:16.213" v="1763" actId="179"/>
        <pc:sldMkLst>
          <pc:docMk/>
          <pc:sldMk cId="3170385694" sldId="2782"/>
        </pc:sldMkLst>
        <pc:spChg chg="mod">
          <ac:chgData name="Aurelien Domont" userId="6da7715ce44349b3" providerId="LiveId" clId="{1F031B4F-7A08-47B6-9BBE-3BE595172CA2}" dt="2023-02-16T00:16:16.213" v="1763" actId="179"/>
          <ac:spMkLst>
            <pc:docMk/>
            <pc:sldMk cId="3170385694" sldId="2782"/>
            <ac:spMk id="9" creationId="{8D9114CE-983C-A8EA-3BEE-881082EB8DCB}"/>
          </ac:spMkLst>
        </pc:spChg>
        <pc:spChg chg="mod">
          <ac:chgData name="Aurelien Domont" userId="6da7715ce44349b3" providerId="LiveId" clId="{1F031B4F-7A08-47B6-9BBE-3BE595172CA2}" dt="2023-02-16T00:15:50.486" v="1754" actId="20577"/>
          <ac:spMkLst>
            <pc:docMk/>
            <pc:sldMk cId="3170385694" sldId="2782"/>
            <ac:spMk id="16" creationId="{6C2BB713-9637-4B9B-938F-E9768876782A}"/>
          </ac:spMkLst>
        </pc:spChg>
      </pc:sldChg>
      <pc:sldChg chg="modSp mod">
        <pc:chgData name="Aurelien Domont" userId="6da7715ce44349b3" providerId="LiveId" clId="{1F031B4F-7A08-47B6-9BBE-3BE595172CA2}" dt="2023-02-15T06:18:29.309" v="1098" actId="179"/>
        <pc:sldMkLst>
          <pc:docMk/>
          <pc:sldMk cId="4243610664" sldId="2784"/>
        </pc:sldMkLst>
        <pc:spChg chg="mod">
          <ac:chgData name="Aurelien Domont" userId="6da7715ce44349b3" providerId="LiveId" clId="{1F031B4F-7A08-47B6-9BBE-3BE595172CA2}" dt="2023-02-15T06:18:24.866" v="1097" actId="179"/>
          <ac:spMkLst>
            <pc:docMk/>
            <pc:sldMk cId="4243610664" sldId="2784"/>
            <ac:spMk id="14" creationId="{63FD8321-6744-2285-5414-63C9EFEBB933}"/>
          </ac:spMkLst>
        </pc:spChg>
        <pc:spChg chg="mod">
          <ac:chgData name="Aurelien Domont" userId="6da7715ce44349b3" providerId="LiveId" clId="{1F031B4F-7A08-47B6-9BBE-3BE595172CA2}" dt="2023-02-15T06:18:29.309" v="1098" actId="179"/>
          <ac:spMkLst>
            <pc:docMk/>
            <pc:sldMk cId="4243610664" sldId="2784"/>
            <ac:spMk id="17" creationId="{36737EA6-9AB2-DC06-8726-9673D2D8C95A}"/>
          </ac:spMkLst>
        </pc:spChg>
      </pc:sldChg>
      <pc:sldChg chg="addSp delSp modSp mod">
        <pc:chgData name="Aurelien Domont" userId="6da7715ce44349b3" providerId="LiveId" clId="{1F031B4F-7A08-47B6-9BBE-3BE595172CA2}" dt="2023-02-14T07:32:29.205" v="610"/>
        <pc:sldMkLst>
          <pc:docMk/>
          <pc:sldMk cId="2235391812" sldId="2797"/>
        </pc:sldMkLst>
        <pc:spChg chg="add mod">
          <ac:chgData name="Aurelien Domont" userId="6da7715ce44349b3" providerId="LiveId" clId="{1F031B4F-7A08-47B6-9BBE-3BE595172CA2}" dt="2023-02-14T07:32:29.205" v="610"/>
          <ac:spMkLst>
            <pc:docMk/>
            <pc:sldMk cId="2235391812" sldId="2797"/>
            <ac:spMk id="2" creationId="{C86205F0-5C18-9B99-439C-CD1609AA78D9}"/>
          </ac:spMkLst>
        </pc:spChg>
        <pc:spChg chg="del">
          <ac:chgData name="Aurelien Domont" userId="6da7715ce44349b3" providerId="LiveId" clId="{1F031B4F-7A08-47B6-9BBE-3BE595172CA2}" dt="2023-02-14T07:32:29.098" v="609" actId="478"/>
          <ac:spMkLst>
            <pc:docMk/>
            <pc:sldMk cId="2235391812" sldId="2797"/>
            <ac:spMk id="3" creationId="{CE2529A3-BA97-486F-9E02-8DFAAA7D8D38}"/>
          </ac:spMkLst>
        </pc:spChg>
        <pc:spChg chg="mod">
          <ac:chgData name="Aurelien Domont" userId="6da7715ce44349b3" providerId="LiveId" clId="{1F031B4F-7A08-47B6-9BBE-3BE595172CA2}" dt="2023-02-14T07:27:22.901" v="594" actId="403"/>
          <ac:spMkLst>
            <pc:docMk/>
            <pc:sldMk cId="2235391812" sldId="2797"/>
            <ac:spMk id="41" creationId="{CD990F59-0B48-36A1-F999-39E4EE782D3B}"/>
          </ac:spMkLst>
        </pc:spChg>
        <pc:spChg chg="mod">
          <ac:chgData name="Aurelien Domont" userId="6da7715ce44349b3" providerId="LiveId" clId="{1F031B4F-7A08-47B6-9BBE-3BE595172CA2}" dt="2023-02-14T07:27:33.972" v="600" actId="20577"/>
          <ac:spMkLst>
            <pc:docMk/>
            <pc:sldMk cId="2235391812" sldId="2797"/>
            <ac:spMk id="42" creationId="{2A757679-28EA-0775-A492-6413B98C5DA4}"/>
          </ac:spMkLst>
        </pc:spChg>
        <pc:spChg chg="mod">
          <ac:chgData name="Aurelien Domont" userId="6da7715ce44349b3" providerId="LiveId" clId="{1F031B4F-7A08-47B6-9BBE-3BE595172CA2}" dt="2023-02-14T07:27:34.868" v="601" actId="20577"/>
          <ac:spMkLst>
            <pc:docMk/>
            <pc:sldMk cId="2235391812" sldId="2797"/>
            <ac:spMk id="43" creationId="{AA5FBF13-DAFE-0184-DBA9-880EEC6AA61D}"/>
          </ac:spMkLst>
        </pc:spChg>
        <pc:spChg chg="mod">
          <ac:chgData name="Aurelien Domont" userId="6da7715ce44349b3" providerId="LiveId" clId="{1F031B4F-7A08-47B6-9BBE-3BE595172CA2}" dt="2023-02-14T07:27:35.744" v="602" actId="20577"/>
          <ac:spMkLst>
            <pc:docMk/>
            <pc:sldMk cId="2235391812" sldId="2797"/>
            <ac:spMk id="44" creationId="{49C668E4-6830-BF8D-495B-71189853C90F}"/>
          </ac:spMkLst>
        </pc:spChg>
        <pc:spChg chg="mod">
          <ac:chgData name="Aurelien Domont" userId="6da7715ce44349b3" providerId="LiveId" clId="{1F031B4F-7A08-47B6-9BBE-3BE595172CA2}" dt="2023-02-14T07:27:36.778" v="603" actId="20577"/>
          <ac:spMkLst>
            <pc:docMk/>
            <pc:sldMk cId="2235391812" sldId="2797"/>
            <ac:spMk id="45" creationId="{9DD2FFE9-C088-1113-6EFE-449EBF03876F}"/>
          </ac:spMkLst>
        </pc:spChg>
        <pc:spChg chg="mod">
          <ac:chgData name="Aurelien Domont" userId="6da7715ce44349b3" providerId="LiveId" clId="{1F031B4F-7A08-47B6-9BBE-3BE595172CA2}" dt="2023-02-14T07:27:37.768" v="604" actId="20577"/>
          <ac:spMkLst>
            <pc:docMk/>
            <pc:sldMk cId="2235391812" sldId="2797"/>
            <ac:spMk id="46" creationId="{6DEA0BCA-43E5-7CAE-B72C-8D38BC88D3B2}"/>
          </ac:spMkLst>
        </pc:spChg>
        <pc:spChg chg="del">
          <ac:chgData name="Aurelien Domont" userId="6da7715ce44349b3" providerId="LiveId" clId="{1F031B4F-7A08-47B6-9BBE-3BE595172CA2}" dt="2023-02-14T07:26:43.739" v="583" actId="478"/>
          <ac:spMkLst>
            <pc:docMk/>
            <pc:sldMk cId="2235391812" sldId="2797"/>
            <ac:spMk id="47" creationId="{D4D73DD5-8258-233A-8CCF-AFD0F794EDC3}"/>
          </ac:spMkLst>
        </pc:spChg>
        <pc:spChg chg="del">
          <ac:chgData name="Aurelien Domont" userId="6da7715ce44349b3" providerId="LiveId" clId="{1F031B4F-7A08-47B6-9BBE-3BE595172CA2}" dt="2023-02-14T07:27:15.151" v="591" actId="478"/>
          <ac:spMkLst>
            <pc:docMk/>
            <pc:sldMk cId="2235391812" sldId="2797"/>
            <ac:spMk id="48" creationId="{35403A2C-2CD4-95CB-69E3-ABC3D492C177}"/>
          </ac:spMkLst>
        </pc:spChg>
        <pc:spChg chg="del">
          <ac:chgData name="Aurelien Domont" userId="6da7715ce44349b3" providerId="LiveId" clId="{1F031B4F-7A08-47B6-9BBE-3BE595172CA2}" dt="2023-02-14T07:27:15.151" v="591" actId="478"/>
          <ac:spMkLst>
            <pc:docMk/>
            <pc:sldMk cId="2235391812" sldId="2797"/>
            <ac:spMk id="49" creationId="{2D2439AA-D9D4-D722-CEB1-5948EC6569B4}"/>
          </ac:spMkLst>
        </pc:spChg>
        <pc:spChg chg="del">
          <ac:chgData name="Aurelien Domont" userId="6da7715ce44349b3" providerId="LiveId" clId="{1F031B4F-7A08-47B6-9BBE-3BE595172CA2}" dt="2023-02-14T07:27:15.151" v="591" actId="478"/>
          <ac:spMkLst>
            <pc:docMk/>
            <pc:sldMk cId="2235391812" sldId="2797"/>
            <ac:spMk id="50" creationId="{8B91EF51-AE2A-681F-2179-4204E728B1B8}"/>
          </ac:spMkLst>
        </pc:spChg>
        <pc:spChg chg="del">
          <ac:chgData name="Aurelien Domont" userId="6da7715ce44349b3" providerId="LiveId" clId="{1F031B4F-7A08-47B6-9BBE-3BE595172CA2}" dt="2023-02-14T07:27:15.151" v="591" actId="478"/>
          <ac:spMkLst>
            <pc:docMk/>
            <pc:sldMk cId="2235391812" sldId="2797"/>
            <ac:spMk id="51" creationId="{5AC85E35-03AB-7883-8211-C00E40111128}"/>
          </ac:spMkLst>
        </pc:spChg>
        <pc:spChg chg="del">
          <ac:chgData name="Aurelien Domont" userId="6da7715ce44349b3" providerId="LiveId" clId="{1F031B4F-7A08-47B6-9BBE-3BE595172CA2}" dt="2023-02-14T07:27:15.151" v="591" actId="478"/>
          <ac:spMkLst>
            <pc:docMk/>
            <pc:sldMk cId="2235391812" sldId="2797"/>
            <ac:spMk id="52" creationId="{D5EB0EB6-0975-33F7-39AD-227C487D6D5E}"/>
          </ac:spMkLst>
        </pc:spChg>
      </pc:sldChg>
      <pc:sldChg chg="modSp mod">
        <pc:chgData name="Aurelien Domont" userId="6da7715ce44349b3" providerId="LiveId" clId="{1F031B4F-7A08-47B6-9BBE-3BE595172CA2}" dt="2023-02-14T07:08:45.846" v="515" actId="313"/>
        <pc:sldMkLst>
          <pc:docMk/>
          <pc:sldMk cId="1317706576" sldId="2799"/>
        </pc:sldMkLst>
        <pc:spChg chg="mod">
          <ac:chgData name="Aurelien Domont" userId="6da7715ce44349b3" providerId="LiveId" clId="{1F031B4F-7A08-47B6-9BBE-3BE595172CA2}" dt="2023-02-14T07:08:31.754" v="495" actId="313"/>
          <ac:spMkLst>
            <pc:docMk/>
            <pc:sldMk cId="1317706576" sldId="2799"/>
            <ac:spMk id="50" creationId="{4AA80C94-4EF4-34F7-825E-01ECCAEC7FDE}"/>
          </ac:spMkLst>
        </pc:spChg>
        <pc:spChg chg="mod">
          <ac:chgData name="Aurelien Domont" userId="6da7715ce44349b3" providerId="LiveId" clId="{1F031B4F-7A08-47B6-9BBE-3BE595172CA2}" dt="2023-02-14T07:08:34.253" v="498" actId="313"/>
          <ac:spMkLst>
            <pc:docMk/>
            <pc:sldMk cId="1317706576" sldId="2799"/>
            <ac:spMk id="52" creationId="{66511DFC-17E6-B18F-B641-05937058358B}"/>
          </ac:spMkLst>
        </pc:spChg>
        <pc:spChg chg="mod">
          <ac:chgData name="Aurelien Domont" userId="6da7715ce44349b3" providerId="LiveId" clId="{1F031B4F-7A08-47B6-9BBE-3BE595172CA2}" dt="2023-02-14T07:08:37.381" v="502" actId="313"/>
          <ac:spMkLst>
            <pc:docMk/>
            <pc:sldMk cId="1317706576" sldId="2799"/>
            <ac:spMk id="54" creationId="{1A9E9FE6-4831-38BB-B2C4-18BDD27AF6D3}"/>
          </ac:spMkLst>
        </pc:spChg>
        <pc:spChg chg="mod">
          <ac:chgData name="Aurelien Domont" userId="6da7715ce44349b3" providerId="LiveId" clId="{1F031B4F-7A08-47B6-9BBE-3BE595172CA2}" dt="2023-02-14T07:08:38.386" v="503" actId="313"/>
          <ac:spMkLst>
            <pc:docMk/>
            <pc:sldMk cId="1317706576" sldId="2799"/>
            <ac:spMk id="56" creationId="{F1A7BA2F-243A-7D91-0360-CDFBFF4281B3}"/>
          </ac:spMkLst>
        </pc:spChg>
        <pc:spChg chg="mod">
          <ac:chgData name="Aurelien Domont" userId="6da7715ce44349b3" providerId="LiveId" clId="{1F031B4F-7A08-47B6-9BBE-3BE595172CA2}" dt="2023-02-14T07:08:39.882" v="505" actId="313"/>
          <ac:spMkLst>
            <pc:docMk/>
            <pc:sldMk cId="1317706576" sldId="2799"/>
            <ac:spMk id="58" creationId="{063E38C5-FCC5-3F69-0A59-39DE78C8DD4B}"/>
          </ac:spMkLst>
        </pc:spChg>
        <pc:spChg chg="mod">
          <ac:chgData name="Aurelien Domont" userId="6da7715ce44349b3" providerId="LiveId" clId="{1F031B4F-7A08-47B6-9BBE-3BE595172CA2}" dt="2023-02-14T07:08:40.621" v="506" actId="313"/>
          <ac:spMkLst>
            <pc:docMk/>
            <pc:sldMk cId="1317706576" sldId="2799"/>
            <ac:spMk id="60" creationId="{33051BFC-B164-20C6-BA13-019704D27ED9}"/>
          </ac:spMkLst>
        </pc:spChg>
        <pc:spChg chg="mod">
          <ac:chgData name="Aurelien Domont" userId="6da7715ce44349b3" providerId="LiveId" clId="{1F031B4F-7A08-47B6-9BBE-3BE595172CA2}" dt="2023-02-14T07:08:41.934" v="508" actId="313"/>
          <ac:spMkLst>
            <pc:docMk/>
            <pc:sldMk cId="1317706576" sldId="2799"/>
            <ac:spMk id="62" creationId="{4F339A0E-8D1B-5302-E76B-8E84854DF28B}"/>
          </ac:spMkLst>
        </pc:spChg>
        <pc:spChg chg="mod">
          <ac:chgData name="Aurelien Domont" userId="6da7715ce44349b3" providerId="LiveId" clId="{1F031B4F-7A08-47B6-9BBE-3BE595172CA2}" dt="2023-02-14T07:08:44.196" v="513" actId="313"/>
          <ac:spMkLst>
            <pc:docMk/>
            <pc:sldMk cId="1317706576" sldId="2799"/>
            <ac:spMk id="64" creationId="{A4F769DD-6658-1AA5-66B9-FEFFC10F0DBA}"/>
          </ac:spMkLst>
        </pc:spChg>
        <pc:spChg chg="mod">
          <ac:chgData name="Aurelien Domont" userId="6da7715ce44349b3" providerId="LiveId" clId="{1F031B4F-7A08-47B6-9BBE-3BE595172CA2}" dt="2023-02-14T07:08:44.584" v="514" actId="313"/>
          <ac:spMkLst>
            <pc:docMk/>
            <pc:sldMk cId="1317706576" sldId="2799"/>
            <ac:spMk id="66" creationId="{EFA3E9F9-ADF5-343F-BE9A-21F039D7BAD5}"/>
          </ac:spMkLst>
        </pc:spChg>
        <pc:spChg chg="mod">
          <ac:chgData name="Aurelien Domont" userId="6da7715ce44349b3" providerId="LiveId" clId="{1F031B4F-7A08-47B6-9BBE-3BE595172CA2}" dt="2023-02-14T07:08:45.846" v="515" actId="313"/>
          <ac:spMkLst>
            <pc:docMk/>
            <pc:sldMk cId="1317706576" sldId="2799"/>
            <ac:spMk id="68" creationId="{12CF56CA-71D9-4EFA-57D7-C90BF9393ECA}"/>
          </ac:spMkLst>
        </pc:spChg>
      </pc:sldChg>
      <pc:sldChg chg="addSp delSp modSp mod">
        <pc:chgData name="Aurelien Domont" userId="6da7715ce44349b3" providerId="LiveId" clId="{1F031B4F-7A08-47B6-9BBE-3BE595172CA2}" dt="2023-02-15T05:55:37.556" v="1035"/>
        <pc:sldMkLst>
          <pc:docMk/>
          <pc:sldMk cId="3961326851" sldId="2800"/>
        </pc:sldMkLst>
        <pc:spChg chg="add mod">
          <ac:chgData name="Aurelien Domont" userId="6da7715ce44349b3" providerId="LiveId" clId="{1F031B4F-7A08-47B6-9BBE-3BE595172CA2}" dt="2023-02-15T05:55:37.556" v="1035"/>
          <ac:spMkLst>
            <pc:docMk/>
            <pc:sldMk cId="3961326851" sldId="2800"/>
            <ac:spMk id="2" creationId="{6726335B-61E0-826F-FA56-6B872FD89430}"/>
          </ac:spMkLst>
        </pc:spChg>
        <pc:spChg chg="del">
          <ac:chgData name="Aurelien Domont" userId="6da7715ce44349b3" providerId="LiveId" clId="{1F031B4F-7A08-47B6-9BBE-3BE595172CA2}" dt="2023-02-15T05:55:36.524" v="1034" actId="478"/>
          <ac:spMkLst>
            <pc:docMk/>
            <pc:sldMk cId="3961326851" sldId="2800"/>
            <ac:spMk id="3" creationId="{CE2529A3-BA97-486F-9E02-8DFAAA7D8D38}"/>
          </ac:spMkLst>
        </pc:spChg>
        <pc:spChg chg="mod">
          <ac:chgData name="Aurelien Domont" userId="6da7715ce44349b3" providerId="LiveId" clId="{1F031B4F-7A08-47B6-9BBE-3BE595172CA2}" dt="2023-02-15T05:49:30.789" v="1018" actId="208"/>
          <ac:spMkLst>
            <pc:docMk/>
            <pc:sldMk cId="3961326851" sldId="2800"/>
            <ac:spMk id="25" creationId="{16C4EEF9-6124-630B-A81F-76CFE8B0D1F2}"/>
          </ac:spMkLst>
        </pc:spChg>
        <pc:spChg chg="mod">
          <ac:chgData name="Aurelien Domont" userId="6da7715ce44349b3" providerId="LiveId" clId="{1F031B4F-7A08-47B6-9BBE-3BE595172CA2}" dt="2023-02-15T05:49:30.789" v="1018" actId="208"/>
          <ac:spMkLst>
            <pc:docMk/>
            <pc:sldMk cId="3961326851" sldId="2800"/>
            <ac:spMk id="27" creationId="{C2285F08-F1B9-2009-3F6D-629E37939DD8}"/>
          </ac:spMkLst>
        </pc:spChg>
        <pc:spChg chg="mod">
          <ac:chgData name="Aurelien Domont" userId="6da7715ce44349b3" providerId="LiveId" clId="{1F031B4F-7A08-47B6-9BBE-3BE595172CA2}" dt="2023-02-15T05:49:30.789" v="1018" actId="208"/>
          <ac:spMkLst>
            <pc:docMk/>
            <pc:sldMk cId="3961326851" sldId="2800"/>
            <ac:spMk id="28" creationId="{284288CC-4B51-02FE-D68A-FFA6D3B0DB1D}"/>
          </ac:spMkLst>
        </pc:spChg>
      </pc:sldChg>
      <pc:sldChg chg="addSp delSp modSp mod">
        <pc:chgData name="Aurelien Domont" userId="6da7715ce44349b3" providerId="LiveId" clId="{1F031B4F-7A08-47B6-9BBE-3BE595172CA2}" dt="2023-02-15T05:55:43.805" v="1037"/>
        <pc:sldMkLst>
          <pc:docMk/>
          <pc:sldMk cId="2227034554" sldId="2801"/>
        </pc:sldMkLst>
        <pc:spChg chg="mod">
          <ac:chgData name="Aurelien Domont" userId="6da7715ce44349b3" providerId="LiveId" clId="{1F031B4F-7A08-47B6-9BBE-3BE595172CA2}" dt="2023-02-15T05:51:15.371" v="1029" actId="207"/>
          <ac:spMkLst>
            <pc:docMk/>
            <pc:sldMk cId="2227034554" sldId="2801"/>
            <ac:spMk id="2" creationId="{E6A37B04-A341-5D7B-F1AB-001C2D8DCC63}"/>
          </ac:spMkLst>
        </pc:spChg>
        <pc:spChg chg="del">
          <ac:chgData name="Aurelien Domont" userId="6da7715ce44349b3" providerId="LiveId" clId="{1F031B4F-7A08-47B6-9BBE-3BE595172CA2}" dt="2023-02-15T05:55:43.458" v="1036" actId="478"/>
          <ac:spMkLst>
            <pc:docMk/>
            <pc:sldMk cId="2227034554" sldId="2801"/>
            <ac:spMk id="3" creationId="{CE2529A3-BA97-486F-9E02-8DFAAA7D8D38}"/>
          </ac:spMkLst>
        </pc:spChg>
        <pc:spChg chg="mod">
          <ac:chgData name="Aurelien Domont" userId="6da7715ce44349b3" providerId="LiveId" clId="{1F031B4F-7A08-47B6-9BBE-3BE595172CA2}" dt="2023-02-15T05:50:21.398" v="1022" actId="114"/>
          <ac:spMkLst>
            <pc:docMk/>
            <pc:sldMk cId="2227034554" sldId="2801"/>
            <ac:spMk id="4" creationId="{F119B86B-D2C9-375B-80A1-DE8857E34142}"/>
          </ac:spMkLst>
        </pc:spChg>
        <pc:spChg chg="add mod">
          <ac:chgData name="Aurelien Domont" userId="6da7715ce44349b3" providerId="LiveId" clId="{1F031B4F-7A08-47B6-9BBE-3BE595172CA2}" dt="2023-02-15T05:55:43.805" v="1037"/>
          <ac:spMkLst>
            <pc:docMk/>
            <pc:sldMk cId="2227034554" sldId="2801"/>
            <ac:spMk id="5" creationId="{E53C2A4A-EFBD-2184-EA09-515FFB846E33}"/>
          </ac:spMkLst>
        </pc:spChg>
        <pc:spChg chg="mod">
          <ac:chgData name="Aurelien Domont" userId="6da7715ce44349b3" providerId="LiveId" clId="{1F031B4F-7A08-47B6-9BBE-3BE595172CA2}" dt="2023-02-15T05:50:17.862" v="1020" actId="207"/>
          <ac:spMkLst>
            <pc:docMk/>
            <pc:sldMk cId="2227034554" sldId="2801"/>
            <ac:spMk id="7" creationId="{3540A4D6-5138-02C2-E069-69A97F50341A}"/>
          </ac:spMkLst>
        </pc:spChg>
        <pc:spChg chg="mod">
          <ac:chgData name="Aurelien Domont" userId="6da7715ce44349b3" providerId="LiveId" clId="{1F031B4F-7A08-47B6-9BBE-3BE595172CA2}" dt="2023-02-15T05:50:28.775" v="1024" actId="207"/>
          <ac:spMkLst>
            <pc:docMk/>
            <pc:sldMk cId="2227034554" sldId="2801"/>
            <ac:spMk id="8" creationId="{5F2AB727-F4EF-ACA5-D3E1-E42F1C7976AE}"/>
          </ac:spMkLst>
        </pc:spChg>
        <pc:spChg chg="mod">
          <ac:chgData name="Aurelien Domont" userId="6da7715ce44349b3" providerId="LiveId" clId="{1F031B4F-7A08-47B6-9BBE-3BE595172CA2}" dt="2023-02-15T05:50:37.295" v="1026" actId="114"/>
          <ac:spMkLst>
            <pc:docMk/>
            <pc:sldMk cId="2227034554" sldId="2801"/>
            <ac:spMk id="50" creationId="{F8AFE659-93EE-DE1A-EA33-3E9588101A6D}"/>
          </ac:spMkLst>
        </pc:spChg>
        <pc:spChg chg="mod">
          <ac:chgData name="Aurelien Domont" userId="6da7715ce44349b3" providerId="LiveId" clId="{1F031B4F-7A08-47B6-9BBE-3BE595172CA2}" dt="2023-02-15T05:50:37.295" v="1026" actId="114"/>
          <ac:spMkLst>
            <pc:docMk/>
            <pc:sldMk cId="2227034554" sldId="2801"/>
            <ac:spMk id="51" creationId="{C19DB103-C266-8C37-1C45-BD2DE0F4D398}"/>
          </ac:spMkLst>
        </pc:spChg>
        <pc:spChg chg="mod">
          <ac:chgData name="Aurelien Domont" userId="6da7715ce44349b3" providerId="LiveId" clId="{1F031B4F-7A08-47B6-9BBE-3BE595172CA2}" dt="2023-02-15T05:50:37.295" v="1026" actId="114"/>
          <ac:spMkLst>
            <pc:docMk/>
            <pc:sldMk cId="2227034554" sldId="2801"/>
            <ac:spMk id="52" creationId="{366EA6B5-9C44-B141-2088-12BEDCB8DB11}"/>
          </ac:spMkLst>
        </pc:spChg>
        <pc:spChg chg="mod">
          <ac:chgData name="Aurelien Domont" userId="6da7715ce44349b3" providerId="LiveId" clId="{1F031B4F-7A08-47B6-9BBE-3BE595172CA2}" dt="2023-02-15T05:52:28.502" v="1033" actId="108"/>
          <ac:spMkLst>
            <pc:docMk/>
            <pc:sldMk cId="2227034554" sldId="2801"/>
            <ac:spMk id="53" creationId="{EC8A1FBC-F97C-B5B9-E5A4-780A7916194C}"/>
          </ac:spMkLst>
        </pc:spChg>
        <pc:spChg chg="mod">
          <ac:chgData name="Aurelien Domont" userId="6da7715ce44349b3" providerId="LiveId" clId="{1F031B4F-7A08-47B6-9BBE-3BE595172CA2}" dt="2023-02-15T05:52:24.629" v="1032" actId="179"/>
          <ac:spMkLst>
            <pc:docMk/>
            <pc:sldMk cId="2227034554" sldId="2801"/>
            <ac:spMk id="55" creationId="{44707634-BC1D-F003-447D-CF7239EBFF97}"/>
          </ac:spMkLst>
        </pc:spChg>
      </pc:sldChg>
      <pc:sldChg chg="addSp delSp modSp mod">
        <pc:chgData name="Aurelien Domont" userId="6da7715ce44349b3" providerId="LiveId" clId="{1F031B4F-7A08-47B6-9BBE-3BE595172CA2}" dt="2023-02-15T05:55:50.171" v="1039"/>
        <pc:sldMkLst>
          <pc:docMk/>
          <pc:sldMk cId="1555481823" sldId="2802"/>
        </pc:sldMkLst>
        <pc:spChg chg="add mod">
          <ac:chgData name="Aurelien Domont" userId="6da7715ce44349b3" providerId="LiveId" clId="{1F031B4F-7A08-47B6-9BBE-3BE595172CA2}" dt="2023-02-15T05:55:50.171" v="1039"/>
          <ac:spMkLst>
            <pc:docMk/>
            <pc:sldMk cId="1555481823" sldId="2802"/>
            <ac:spMk id="2" creationId="{D72FE072-4FE2-6CE0-BFCA-646A54ADFCAA}"/>
          </ac:spMkLst>
        </pc:spChg>
        <pc:spChg chg="del">
          <ac:chgData name="Aurelien Domont" userId="6da7715ce44349b3" providerId="LiveId" clId="{1F031B4F-7A08-47B6-9BBE-3BE595172CA2}" dt="2023-02-15T05:55:50.046" v="1038" actId="478"/>
          <ac:spMkLst>
            <pc:docMk/>
            <pc:sldMk cId="1555481823" sldId="2802"/>
            <ac:spMk id="3" creationId="{CE2529A3-BA97-486F-9E02-8DFAAA7D8D38}"/>
          </ac:spMkLst>
        </pc:spChg>
      </pc:sldChg>
      <pc:sldChg chg="addSp delSp modSp mod">
        <pc:chgData name="Aurelien Domont" userId="6da7715ce44349b3" providerId="LiveId" clId="{1F031B4F-7A08-47B6-9BBE-3BE595172CA2}" dt="2023-02-15T05:56:00.027" v="1041"/>
        <pc:sldMkLst>
          <pc:docMk/>
          <pc:sldMk cId="1956543247" sldId="2803"/>
        </pc:sldMkLst>
        <pc:spChg chg="del">
          <ac:chgData name="Aurelien Domont" userId="6da7715ce44349b3" providerId="LiveId" clId="{1F031B4F-7A08-47B6-9BBE-3BE595172CA2}" dt="2023-02-15T05:55:59.901" v="1040" actId="478"/>
          <ac:spMkLst>
            <pc:docMk/>
            <pc:sldMk cId="1956543247" sldId="2803"/>
            <ac:spMk id="3" creationId="{CE2529A3-BA97-486F-9E02-8DFAAA7D8D38}"/>
          </ac:spMkLst>
        </pc:spChg>
        <pc:spChg chg="add mod">
          <ac:chgData name="Aurelien Domont" userId="6da7715ce44349b3" providerId="LiveId" clId="{1F031B4F-7A08-47B6-9BBE-3BE595172CA2}" dt="2023-02-15T05:56:00.027" v="1041"/>
          <ac:spMkLst>
            <pc:docMk/>
            <pc:sldMk cId="1956543247" sldId="2803"/>
            <ac:spMk id="8" creationId="{75B906A9-9189-B857-FAA3-D667E4F67165}"/>
          </ac:spMkLst>
        </pc:spChg>
      </pc:sldChg>
      <pc:sldChg chg="modSp mod">
        <pc:chgData name="Aurelien Domont" userId="6da7715ce44349b3" providerId="LiveId" clId="{1F031B4F-7A08-47B6-9BBE-3BE595172CA2}" dt="2023-02-15T06:16:23.066" v="1096" actId="14100"/>
        <pc:sldMkLst>
          <pc:docMk/>
          <pc:sldMk cId="1173003416" sldId="2805"/>
        </pc:sldMkLst>
        <pc:spChg chg="mod">
          <ac:chgData name="Aurelien Domont" userId="6da7715ce44349b3" providerId="LiveId" clId="{1F031B4F-7A08-47B6-9BBE-3BE595172CA2}" dt="2023-02-15T06:16:23.066" v="1096" actId="14100"/>
          <ac:spMkLst>
            <pc:docMk/>
            <pc:sldMk cId="1173003416" sldId="2805"/>
            <ac:spMk id="29" creationId="{FD6B5470-BAE1-F911-E9BD-7BB571B85D12}"/>
          </ac:spMkLst>
        </pc:spChg>
        <pc:spChg chg="mod">
          <ac:chgData name="Aurelien Domont" userId="6da7715ce44349b3" providerId="LiveId" clId="{1F031B4F-7A08-47B6-9BBE-3BE595172CA2}" dt="2023-02-15T06:15:23.249" v="1095" actId="14100"/>
          <ac:spMkLst>
            <pc:docMk/>
            <pc:sldMk cId="1173003416" sldId="2805"/>
            <ac:spMk id="34" creationId="{7FF0B41E-ED6D-47A2-E81C-7C23C6C7AD67}"/>
          </ac:spMkLst>
        </pc:spChg>
      </pc:sldChg>
      <pc:sldChg chg="modSp mod">
        <pc:chgData name="Aurelien Domont" userId="6da7715ce44349b3" providerId="LiveId" clId="{1F031B4F-7A08-47B6-9BBE-3BE595172CA2}" dt="2023-02-14T07:08:49.297" v="517" actId="313"/>
        <pc:sldMkLst>
          <pc:docMk/>
          <pc:sldMk cId="1453306358" sldId="2807"/>
        </pc:sldMkLst>
        <pc:spChg chg="mod">
          <ac:chgData name="Aurelien Domont" userId="6da7715ce44349b3" providerId="LiveId" clId="{1F031B4F-7A08-47B6-9BBE-3BE595172CA2}" dt="2023-02-14T07:08:49.297" v="517" actId="313"/>
          <ac:spMkLst>
            <pc:docMk/>
            <pc:sldMk cId="1453306358" sldId="2807"/>
            <ac:spMk id="10" creationId="{14C9DC0B-5AE6-19E6-58CC-5F88F5C37B58}"/>
          </ac:spMkLst>
        </pc:spChg>
      </pc:sldChg>
      <pc:sldChg chg="add del">
        <pc:chgData name="Aurelien Domont" userId="6da7715ce44349b3" providerId="LiveId" clId="{1F031B4F-7A08-47B6-9BBE-3BE595172CA2}" dt="2023-02-15T23:32:02.194" v="1138" actId="47"/>
        <pc:sldMkLst>
          <pc:docMk/>
          <pc:sldMk cId="3628312707" sldId="2808"/>
        </pc:sldMkLst>
      </pc:sldChg>
      <pc:sldChg chg="addSp modSp new mod">
        <pc:chgData name="Aurelien Domont" userId="6da7715ce44349b3" providerId="LiveId" clId="{1F031B4F-7A08-47B6-9BBE-3BE595172CA2}" dt="2023-02-16T02:21:34.400" v="3100" actId="400"/>
        <pc:sldMkLst>
          <pc:docMk/>
          <pc:sldMk cId="1501941711" sldId="2809"/>
        </pc:sldMkLst>
        <pc:spChg chg="add mod">
          <ac:chgData name="Aurelien Domont" userId="6da7715ce44349b3" providerId="LiveId" clId="{1F031B4F-7A08-47B6-9BBE-3BE595172CA2}" dt="2023-02-16T02:21:34.400" v="3100" actId="400"/>
          <ac:spMkLst>
            <pc:docMk/>
            <pc:sldMk cId="1501941711" sldId="2809"/>
            <ac:spMk id="3" creationId="{9C697653-603F-5519-9F53-638B4674B2BC}"/>
          </ac:spMkLst>
        </pc:spChg>
        <pc:spChg chg="add mod ord">
          <ac:chgData name="Aurelien Domont" userId="6da7715ce44349b3" providerId="LiveId" clId="{1F031B4F-7A08-47B6-9BBE-3BE595172CA2}" dt="2023-02-15T23:25:59.647" v="1103" actId="167"/>
          <ac:spMkLst>
            <pc:docMk/>
            <pc:sldMk cId="1501941711" sldId="2809"/>
            <ac:spMk id="4" creationId="{9EFA310D-1893-422A-6CBE-C20E35D132E1}"/>
          </ac:spMkLst>
        </pc:spChg>
      </pc:sldChg>
      <pc:sldChg chg="modSp add mod">
        <pc:chgData name="Aurelien Domont" userId="6da7715ce44349b3" providerId="LiveId" clId="{1F031B4F-7A08-47B6-9BBE-3BE595172CA2}" dt="2023-02-15T03:32:36.930" v="961"/>
        <pc:sldMkLst>
          <pc:docMk/>
          <pc:sldMk cId="4037376043" sldId="2810"/>
        </pc:sldMkLst>
        <pc:spChg chg="mod">
          <ac:chgData name="Aurelien Domont" userId="6da7715ce44349b3" providerId="LiveId" clId="{1F031B4F-7A08-47B6-9BBE-3BE595172CA2}" dt="2023-02-15T03:32:10.067" v="935" actId="1076"/>
          <ac:spMkLst>
            <pc:docMk/>
            <pc:sldMk cId="4037376043" sldId="2810"/>
            <ac:spMk id="7" creationId="{0DD006C0-D444-F202-F0AB-2FEA83A04F92}"/>
          </ac:spMkLst>
        </pc:spChg>
        <pc:spChg chg="mod">
          <ac:chgData name="Aurelien Domont" userId="6da7715ce44349b3" providerId="LiveId" clId="{1F031B4F-7A08-47B6-9BBE-3BE595172CA2}" dt="2023-02-15T03:32:12.773" v="936"/>
          <ac:spMkLst>
            <pc:docMk/>
            <pc:sldMk cId="4037376043" sldId="2810"/>
            <ac:spMk id="8" creationId="{969592C2-19C1-D00D-9B5D-B9EDF96424C2}"/>
          </ac:spMkLst>
        </pc:spChg>
        <pc:spChg chg="mod">
          <ac:chgData name="Aurelien Domont" userId="6da7715ce44349b3" providerId="LiveId" clId="{1F031B4F-7A08-47B6-9BBE-3BE595172CA2}" dt="2023-02-15T03:32:14.126" v="937"/>
          <ac:spMkLst>
            <pc:docMk/>
            <pc:sldMk cId="4037376043" sldId="2810"/>
            <ac:spMk id="9" creationId="{F0C6D7C0-9D53-7DDD-643C-3B1EDB675231}"/>
          </ac:spMkLst>
        </pc:spChg>
        <pc:spChg chg="mod">
          <ac:chgData name="Aurelien Domont" userId="6da7715ce44349b3" providerId="LiveId" clId="{1F031B4F-7A08-47B6-9BBE-3BE595172CA2}" dt="2023-02-15T03:32:16.047" v="938"/>
          <ac:spMkLst>
            <pc:docMk/>
            <pc:sldMk cId="4037376043" sldId="2810"/>
            <ac:spMk id="10" creationId="{293CC1FC-19ED-7FA8-67C8-0BCA7B4D1572}"/>
          </ac:spMkLst>
        </pc:spChg>
        <pc:spChg chg="mod">
          <ac:chgData name="Aurelien Domont" userId="6da7715ce44349b3" providerId="LiveId" clId="{1F031B4F-7A08-47B6-9BBE-3BE595172CA2}" dt="2023-02-15T03:32:17.826" v="939"/>
          <ac:spMkLst>
            <pc:docMk/>
            <pc:sldMk cId="4037376043" sldId="2810"/>
            <ac:spMk id="11" creationId="{6308CFE5-861E-F912-358D-FC331F4473BF}"/>
          </ac:spMkLst>
        </pc:spChg>
        <pc:spChg chg="mod">
          <ac:chgData name="Aurelien Domont" userId="6da7715ce44349b3" providerId="LiveId" clId="{1F031B4F-7A08-47B6-9BBE-3BE595172CA2}" dt="2023-02-15T03:31:40.781" v="865" actId="20577"/>
          <ac:spMkLst>
            <pc:docMk/>
            <pc:sldMk cId="4037376043" sldId="2810"/>
            <ac:spMk id="16" creationId="{6C2BB713-9637-4B9B-938F-E9768876782A}"/>
          </ac:spMkLst>
        </pc:spChg>
        <pc:spChg chg="mod">
          <ac:chgData name="Aurelien Domont" userId="6da7715ce44349b3" providerId="LiveId" clId="{1F031B4F-7A08-47B6-9BBE-3BE595172CA2}" dt="2023-02-15T03:31:50.032" v="891" actId="20577"/>
          <ac:spMkLst>
            <pc:docMk/>
            <pc:sldMk cId="4037376043" sldId="2810"/>
            <ac:spMk id="26" creationId="{A029AC71-1F6B-656D-6611-0A5DAFF14871}"/>
          </ac:spMkLst>
        </pc:spChg>
        <pc:spChg chg="mod">
          <ac:chgData name="Aurelien Domont" userId="6da7715ce44349b3" providerId="LiveId" clId="{1F031B4F-7A08-47B6-9BBE-3BE595172CA2}" dt="2023-02-15T03:32:29.565" v="957" actId="20577"/>
          <ac:spMkLst>
            <pc:docMk/>
            <pc:sldMk cId="4037376043" sldId="2810"/>
            <ac:spMk id="27" creationId="{7860E30E-80E6-D6F9-EDAD-74B9507269C2}"/>
          </ac:spMkLst>
        </pc:spChg>
        <pc:spChg chg="mod">
          <ac:chgData name="Aurelien Domont" userId="6da7715ce44349b3" providerId="LiveId" clId="{1F031B4F-7A08-47B6-9BBE-3BE595172CA2}" dt="2023-02-15T03:32:32.203" v="958"/>
          <ac:spMkLst>
            <pc:docMk/>
            <pc:sldMk cId="4037376043" sldId="2810"/>
            <ac:spMk id="28" creationId="{EC594A61-1E37-D873-3040-23196614DE82}"/>
          </ac:spMkLst>
        </pc:spChg>
        <pc:spChg chg="mod">
          <ac:chgData name="Aurelien Domont" userId="6da7715ce44349b3" providerId="LiveId" clId="{1F031B4F-7A08-47B6-9BBE-3BE595172CA2}" dt="2023-02-15T03:32:33.646" v="959"/>
          <ac:spMkLst>
            <pc:docMk/>
            <pc:sldMk cId="4037376043" sldId="2810"/>
            <ac:spMk id="29" creationId="{64A1782D-465A-F770-4044-77554CEC4C28}"/>
          </ac:spMkLst>
        </pc:spChg>
        <pc:spChg chg="mod">
          <ac:chgData name="Aurelien Domont" userId="6da7715ce44349b3" providerId="LiveId" clId="{1F031B4F-7A08-47B6-9BBE-3BE595172CA2}" dt="2023-02-15T03:32:35.157" v="960"/>
          <ac:spMkLst>
            <pc:docMk/>
            <pc:sldMk cId="4037376043" sldId="2810"/>
            <ac:spMk id="46" creationId="{22AE7747-F167-8B73-5D46-E8B744262829}"/>
          </ac:spMkLst>
        </pc:spChg>
        <pc:spChg chg="mod">
          <ac:chgData name="Aurelien Domont" userId="6da7715ce44349b3" providerId="LiveId" clId="{1F031B4F-7A08-47B6-9BBE-3BE595172CA2}" dt="2023-02-15T03:32:36.930" v="961"/>
          <ac:spMkLst>
            <pc:docMk/>
            <pc:sldMk cId="4037376043" sldId="2810"/>
            <ac:spMk id="47" creationId="{C28C14FA-A68C-41E2-394D-C31D1292E6F7}"/>
          </ac:spMkLst>
        </pc:spChg>
        <pc:cxnChg chg="mod">
          <ac:chgData name="Aurelien Domont" userId="6da7715ce44349b3" providerId="LiveId" clId="{1F031B4F-7A08-47B6-9BBE-3BE595172CA2}" dt="2023-02-15T03:32:10.067" v="935" actId="1076"/>
          <ac:cxnSpMkLst>
            <pc:docMk/>
            <pc:sldMk cId="4037376043" sldId="2810"/>
            <ac:cxnSpMk id="51" creationId="{752DCDD9-E283-9F99-401E-E3A63DA36473}"/>
          </ac:cxnSpMkLst>
        </pc:cxnChg>
        <pc:cxnChg chg="mod">
          <ac:chgData name="Aurelien Domont" userId="6da7715ce44349b3" providerId="LiveId" clId="{1F031B4F-7A08-47B6-9BBE-3BE595172CA2}" dt="2023-02-15T03:32:10.067" v="935" actId="1076"/>
          <ac:cxnSpMkLst>
            <pc:docMk/>
            <pc:sldMk cId="4037376043" sldId="2810"/>
            <ac:cxnSpMk id="79" creationId="{2D6986D8-486F-0473-1173-BD84BAB3B9AA}"/>
          </ac:cxnSpMkLst>
        </pc:cxnChg>
      </pc:sldChg>
      <pc:sldChg chg="modSp add mod">
        <pc:chgData name="Aurelien Domont" userId="6da7715ce44349b3" providerId="LiveId" clId="{1F031B4F-7A08-47B6-9BBE-3BE595172CA2}" dt="2023-02-15T23:30:18.260" v="1125" actId="1035"/>
        <pc:sldMkLst>
          <pc:docMk/>
          <pc:sldMk cId="880102048" sldId="2811"/>
        </pc:sldMkLst>
        <pc:spChg chg="mod">
          <ac:chgData name="Aurelien Domont" userId="6da7715ce44349b3" providerId="LiveId" clId="{1F031B4F-7A08-47B6-9BBE-3BE595172CA2}" dt="2023-02-15T23:30:07.772" v="1122" actId="14100"/>
          <ac:spMkLst>
            <pc:docMk/>
            <pc:sldMk cId="880102048" sldId="2811"/>
            <ac:spMk id="4" creationId="{DFDABEBC-4CDA-DE67-F7EF-3C9B292D3796}"/>
          </ac:spMkLst>
        </pc:spChg>
        <pc:spChg chg="mod">
          <ac:chgData name="Aurelien Domont" userId="6da7715ce44349b3" providerId="LiveId" clId="{1F031B4F-7A08-47B6-9BBE-3BE595172CA2}" dt="2023-02-15T23:30:18.260" v="1125" actId="1035"/>
          <ac:spMkLst>
            <pc:docMk/>
            <pc:sldMk cId="880102048" sldId="2811"/>
            <ac:spMk id="8" creationId="{72A52A59-2B0C-B438-B79F-EAD1EBFD5A88}"/>
          </ac:spMkLst>
        </pc:spChg>
        <pc:spChg chg="mod">
          <ac:chgData name="Aurelien Domont" userId="6da7715ce44349b3" providerId="LiveId" clId="{1F031B4F-7A08-47B6-9BBE-3BE595172CA2}" dt="2023-02-15T23:28:29.474" v="1111" actId="207"/>
          <ac:spMkLst>
            <pc:docMk/>
            <pc:sldMk cId="880102048" sldId="2811"/>
            <ac:spMk id="9" creationId="{0F4B39A0-2803-47D9-93AE-F99798C91F06}"/>
          </ac:spMkLst>
        </pc:spChg>
        <pc:spChg chg="mod">
          <ac:chgData name="Aurelien Domont" userId="6da7715ce44349b3" providerId="LiveId" clId="{1F031B4F-7A08-47B6-9BBE-3BE595172CA2}" dt="2023-02-15T23:30:18.260" v="1125" actId="1035"/>
          <ac:spMkLst>
            <pc:docMk/>
            <pc:sldMk cId="880102048" sldId="2811"/>
            <ac:spMk id="14" creationId="{85DB7984-08ED-9AB7-9778-BAC9EF667E17}"/>
          </ac:spMkLst>
        </pc:spChg>
        <pc:spChg chg="mod">
          <ac:chgData name="Aurelien Domont" userId="6da7715ce44349b3" providerId="LiveId" clId="{1F031B4F-7A08-47B6-9BBE-3BE595172CA2}" dt="2023-02-15T23:28:17.303" v="1108"/>
          <ac:spMkLst>
            <pc:docMk/>
            <pc:sldMk cId="880102048" sldId="2811"/>
            <ac:spMk id="16" creationId="{6C2BB713-9637-4B9B-938F-E9768876782A}"/>
          </ac:spMkLst>
        </pc:spChg>
        <pc:spChg chg="mod">
          <ac:chgData name="Aurelien Domont" userId="6da7715ce44349b3" providerId="LiveId" clId="{1F031B4F-7A08-47B6-9BBE-3BE595172CA2}" dt="2023-02-15T23:30:18.260" v="1125" actId="1035"/>
          <ac:spMkLst>
            <pc:docMk/>
            <pc:sldMk cId="880102048" sldId="2811"/>
            <ac:spMk id="21" creationId="{65195D31-8CD1-9CAD-EDAB-5DC5BCEFF793}"/>
          </ac:spMkLst>
        </pc:spChg>
        <pc:spChg chg="mod">
          <ac:chgData name="Aurelien Domont" userId="6da7715ce44349b3" providerId="LiveId" clId="{1F031B4F-7A08-47B6-9BBE-3BE595172CA2}" dt="2023-02-15T23:30:18.260" v="1125" actId="1035"/>
          <ac:spMkLst>
            <pc:docMk/>
            <pc:sldMk cId="880102048" sldId="2811"/>
            <ac:spMk id="26" creationId="{60AA3177-69A2-8959-DB8F-FDAAC70C5894}"/>
          </ac:spMkLst>
        </pc:spChg>
        <pc:spChg chg="mod">
          <ac:chgData name="Aurelien Domont" userId="6da7715ce44349b3" providerId="LiveId" clId="{1F031B4F-7A08-47B6-9BBE-3BE595172CA2}" dt="2023-02-15T23:30:18.260" v="1125" actId="1035"/>
          <ac:spMkLst>
            <pc:docMk/>
            <pc:sldMk cId="880102048" sldId="2811"/>
            <ac:spMk id="29" creationId="{8F984EF8-19B2-4B5E-98EC-433CCE26E2A7}"/>
          </ac:spMkLst>
        </pc:spChg>
        <pc:spChg chg="mod">
          <ac:chgData name="Aurelien Domont" userId="6da7715ce44349b3" providerId="LiveId" clId="{1F031B4F-7A08-47B6-9BBE-3BE595172CA2}" dt="2023-02-15T23:28:38.094" v="1113" actId="207"/>
          <ac:spMkLst>
            <pc:docMk/>
            <pc:sldMk cId="880102048" sldId="2811"/>
            <ac:spMk id="31" creationId="{1C1B78F5-CE09-4A06-8F1D-30227B5D6E15}"/>
          </ac:spMkLst>
        </pc:spChg>
      </pc:sldChg>
      <pc:sldChg chg="add del ord">
        <pc:chgData name="Aurelien Domont" userId="6da7715ce44349b3" providerId="LiveId" clId="{1F031B4F-7A08-47B6-9BBE-3BE595172CA2}" dt="2023-02-15T23:31:57.108" v="1136" actId="47"/>
        <pc:sldMkLst>
          <pc:docMk/>
          <pc:sldMk cId="1561619226" sldId="2812"/>
        </pc:sldMkLst>
      </pc:sldChg>
      <pc:sldChg chg="modSp add mod">
        <pc:chgData name="Aurelien Domont" userId="6da7715ce44349b3" providerId="LiveId" clId="{1F031B4F-7A08-47B6-9BBE-3BE595172CA2}" dt="2023-02-15T23:44:12.160" v="1379" actId="207"/>
        <pc:sldMkLst>
          <pc:docMk/>
          <pc:sldMk cId="11208037" sldId="2813"/>
        </pc:sldMkLst>
        <pc:spChg chg="mod">
          <ac:chgData name="Aurelien Domont" userId="6da7715ce44349b3" providerId="LiveId" clId="{1F031B4F-7A08-47B6-9BBE-3BE595172CA2}" dt="2023-02-15T23:44:12.160" v="1379" actId="207"/>
          <ac:spMkLst>
            <pc:docMk/>
            <pc:sldMk cId="11208037" sldId="2813"/>
            <ac:spMk id="14" creationId="{85DB7984-08ED-9AB7-9778-BAC9EF667E17}"/>
          </ac:spMkLst>
        </pc:spChg>
        <pc:spChg chg="mod">
          <ac:chgData name="Aurelien Domont" userId="6da7715ce44349b3" providerId="LiveId" clId="{1F031B4F-7A08-47B6-9BBE-3BE595172CA2}" dt="2023-02-15T23:44:08.825" v="1378" actId="207"/>
          <ac:spMkLst>
            <pc:docMk/>
            <pc:sldMk cId="11208037" sldId="2813"/>
            <ac:spMk id="31" creationId="{1C1B78F5-CE09-4A06-8F1D-30227B5D6E15}"/>
          </ac:spMkLst>
        </pc:spChg>
      </pc:sldChg>
      <pc:sldChg chg="modSp add del mod">
        <pc:chgData name="Aurelien Domont" userId="6da7715ce44349b3" providerId="LiveId" clId="{1F031B4F-7A08-47B6-9BBE-3BE595172CA2}" dt="2023-02-15T23:31:48.841" v="1134" actId="2696"/>
        <pc:sldMkLst>
          <pc:docMk/>
          <pc:sldMk cId="1238142942" sldId="2813"/>
        </pc:sldMkLst>
        <pc:spChg chg="mod">
          <ac:chgData name="Aurelien Domont" userId="6da7715ce44349b3" providerId="LiveId" clId="{1F031B4F-7A08-47B6-9BBE-3BE595172CA2}" dt="2023-02-15T23:31:43.475" v="1133" actId="207"/>
          <ac:spMkLst>
            <pc:docMk/>
            <pc:sldMk cId="1238142942" sldId="2813"/>
            <ac:spMk id="9" creationId="{0F4B39A0-2803-47D9-93AE-F99798C91F06}"/>
          </ac:spMkLst>
        </pc:spChg>
        <pc:spChg chg="mod">
          <ac:chgData name="Aurelien Domont" userId="6da7715ce44349b3" providerId="LiveId" clId="{1F031B4F-7A08-47B6-9BBE-3BE595172CA2}" dt="2023-02-15T23:31:36.097" v="1131" actId="207"/>
          <ac:spMkLst>
            <pc:docMk/>
            <pc:sldMk cId="1238142942" sldId="2813"/>
            <ac:spMk id="31" creationId="{1C1B78F5-CE09-4A06-8F1D-30227B5D6E15}"/>
          </ac:spMkLst>
        </pc:spChg>
      </pc:sldChg>
      <pc:sldChg chg="modSp add mod">
        <pc:chgData name="Aurelien Domont" userId="6da7715ce44349b3" providerId="LiveId" clId="{1F031B4F-7A08-47B6-9BBE-3BE595172CA2}" dt="2023-02-15T23:45:35.731" v="1390" actId="207"/>
        <pc:sldMkLst>
          <pc:docMk/>
          <pc:sldMk cId="2585945969" sldId="2814"/>
        </pc:sldMkLst>
        <pc:spChg chg="mod">
          <ac:chgData name="Aurelien Domont" userId="6da7715ce44349b3" providerId="LiveId" clId="{1F031B4F-7A08-47B6-9BBE-3BE595172CA2}" dt="2023-02-15T23:45:35.731" v="1390" actId="207"/>
          <ac:spMkLst>
            <pc:docMk/>
            <pc:sldMk cId="2585945969" sldId="2814"/>
            <ac:spMk id="14" creationId="{85DB7984-08ED-9AB7-9778-BAC9EF667E17}"/>
          </ac:spMkLst>
        </pc:spChg>
      </pc:sldChg>
      <pc:sldChg chg="modSp add mod">
        <pc:chgData name="Aurelien Domont" userId="6da7715ce44349b3" providerId="LiveId" clId="{1F031B4F-7A08-47B6-9BBE-3BE595172CA2}" dt="2023-02-15T23:45:39.675" v="1391" actId="207"/>
        <pc:sldMkLst>
          <pc:docMk/>
          <pc:sldMk cId="1295088674" sldId="2815"/>
        </pc:sldMkLst>
        <pc:spChg chg="mod">
          <ac:chgData name="Aurelien Domont" userId="6da7715ce44349b3" providerId="LiveId" clId="{1F031B4F-7A08-47B6-9BBE-3BE595172CA2}" dt="2023-02-15T23:45:39.675" v="1391" actId="207"/>
          <ac:spMkLst>
            <pc:docMk/>
            <pc:sldMk cId="1295088674" sldId="2815"/>
            <ac:spMk id="14" creationId="{85DB7984-08ED-9AB7-9778-BAC9EF667E17}"/>
          </ac:spMkLst>
        </pc:spChg>
      </pc:sldChg>
      <pc:sldChg chg="modSp add mod">
        <pc:chgData name="Aurelien Domont" userId="6da7715ce44349b3" providerId="LiveId" clId="{1F031B4F-7A08-47B6-9BBE-3BE595172CA2}" dt="2023-02-15T23:45:46.651" v="1392" actId="207"/>
        <pc:sldMkLst>
          <pc:docMk/>
          <pc:sldMk cId="910304191" sldId="2816"/>
        </pc:sldMkLst>
        <pc:spChg chg="mod">
          <ac:chgData name="Aurelien Domont" userId="6da7715ce44349b3" providerId="LiveId" clId="{1F031B4F-7A08-47B6-9BBE-3BE595172CA2}" dt="2023-02-15T23:45:46.651" v="1392" actId="207"/>
          <ac:spMkLst>
            <pc:docMk/>
            <pc:sldMk cId="910304191" sldId="2816"/>
            <ac:spMk id="14" creationId="{85DB7984-08ED-9AB7-9778-BAC9EF667E17}"/>
          </ac:spMkLst>
        </pc:spChg>
      </pc:sldChg>
      <pc:sldChg chg="modSp add mod">
        <pc:chgData name="Aurelien Domont" userId="6da7715ce44349b3" providerId="LiveId" clId="{1F031B4F-7A08-47B6-9BBE-3BE595172CA2}" dt="2023-02-15T23:45:50.036" v="1393" actId="207"/>
        <pc:sldMkLst>
          <pc:docMk/>
          <pc:sldMk cId="2470133787" sldId="2817"/>
        </pc:sldMkLst>
        <pc:spChg chg="mod">
          <ac:chgData name="Aurelien Domont" userId="6da7715ce44349b3" providerId="LiveId" clId="{1F031B4F-7A08-47B6-9BBE-3BE595172CA2}" dt="2023-02-15T23:45:50.036" v="1393" actId="207"/>
          <ac:spMkLst>
            <pc:docMk/>
            <pc:sldMk cId="2470133787" sldId="2817"/>
            <ac:spMk id="14" creationId="{85DB7984-08ED-9AB7-9778-BAC9EF667E17}"/>
          </ac:spMkLst>
        </pc:spChg>
      </pc:sldChg>
      <pc:sldChg chg="modSp add mod">
        <pc:chgData name="Aurelien Domont" userId="6da7715ce44349b3" providerId="LiveId" clId="{1F031B4F-7A08-47B6-9BBE-3BE595172CA2}" dt="2023-02-15T23:45:54.503" v="1394" actId="207"/>
        <pc:sldMkLst>
          <pc:docMk/>
          <pc:sldMk cId="1781728587" sldId="2818"/>
        </pc:sldMkLst>
        <pc:spChg chg="mod">
          <ac:chgData name="Aurelien Domont" userId="6da7715ce44349b3" providerId="LiveId" clId="{1F031B4F-7A08-47B6-9BBE-3BE595172CA2}" dt="2023-02-15T23:45:54.503" v="1394" actId="207"/>
          <ac:spMkLst>
            <pc:docMk/>
            <pc:sldMk cId="1781728587" sldId="2818"/>
            <ac:spMk id="14" creationId="{85DB7984-08ED-9AB7-9778-BAC9EF667E17}"/>
          </ac:spMkLst>
        </pc:spChg>
      </pc:sldChg>
      <pc:sldChg chg="modSp add mod">
        <pc:chgData name="Aurelien Domont" userId="6da7715ce44349b3" providerId="LiveId" clId="{1F031B4F-7A08-47B6-9BBE-3BE595172CA2}" dt="2023-02-15T23:45:59.082" v="1395" actId="207"/>
        <pc:sldMkLst>
          <pc:docMk/>
          <pc:sldMk cId="754206789" sldId="2819"/>
        </pc:sldMkLst>
        <pc:spChg chg="mod">
          <ac:chgData name="Aurelien Domont" userId="6da7715ce44349b3" providerId="LiveId" clId="{1F031B4F-7A08-47B6-9BBE-3BE595172CA2}" dt="2023-02-15T23:45:59.082" v="1395" actId="207"/>
          <ac:spMkLst>
            <pc:docMk/>
            <pc:sldMk cId="754206789" sldId="2819"/>
            <ac:spMk id="14" creationId="{85DB7984-08ED-9AB7-9778-BAC9EF667E17}"/>
          </ac:spMkLst>
        </pc:spChg>
      </pc:sldChg>
      <pc:sldChg chg="modSp add mod">
        <pc:chgData name="Aurelien Domont" userId="6da7715ce44349b3" providerId="LiveId" clId="{1F031B4F-7A08-47B6-9BBE-3BE595172CA2}" dt="2023-02-15T23:46:06.801" v="1396" actId="207"/>
        <pc:sldMkLst>
          <pc:docMk/>
          <pc:sldMk cId="1726433618" sldId="2820"/>
        </pc:sldMkLst>
        <pc:spChg chg="mod">
          <ac:chgData name="Aurelien Domont" userId="6da7715ce44349b3" providerId="LiveId" clId="{1F031B4F-7A08-47B6-9BBE-3BE595172CA2}" dt="2023-02-15T23:46:06.801" v="1396" actId="207"/>
          <ac:spMkLst>
            <pc:docMk/>
            <pc:sldMk cId="1726433618" sldId="2820"/>
            <ac:spMk id="14" creationId="{85DB7984-08ED-9AB7-9778-BAC9EF667E17}"/>
          </ac:spMkLst>
        </pc:spChg>
      </pc:sldChg>
      <pc:sldChg chg="add del">
        <pc:chgData name="Aurelien Domont" userId="6da7715ce44349b3" providerId="LiveId" clId="{1F031B4F-7A08-47B6-9BBE-3BE595172CA2}" dt="2023-02-15T23:46:36.549" v="1400" actId="47"/>
        <pc:sldMkLst>
          <pc:docMk/>
          <pc:sldMk cId="2456829057" sldId="2821"/>
        </pc:sldMkLst>
      </pc:sldChg>
      <pc:sldChg chg="add del">
        <pc:chgData name="Aurelien Domont" userId="6da7715ce44349b3" providerId="LiveId" clId="{1F031B4F-7A08-47B6-9BBE-3BE595172CA2}" dt="2023-02-15T23:47:10.367" v="1405" actId="47"/>
        <pc:sldMkLst>
          <pc:docMk/>
          <pc:sldMk cId="3782281306" sldId="2822"/>
        </pc:sldMkLst>
      </pc:sldChg>
      <pc:sldChg chg="modSp add mod">
        <pc:chgData name="Aurelien Domont" userId="6da7715ce44349b3" providerId="LiveId" clId="{1F031B4F-7A08-47B6-9BBE-3BE595172CA2}" dt="2023-02-15T23:47:34.605" v="1412" actId="207"/>
        <pc:sldMkLst>
          <pc:docMk/>
          <pc:sldMk cId="204392000" sldId="2823"/>
        </pc:sldMkLst>
        <pc:spChg chg="mod">
          <ac:chgData name="Aurelien Domont" userId="6da7715ce44349b3" providerId="LiveId" clId="{1F031B4F-7A08-47B6-9BBE-3BE595172CA2}" dt="2023-02-15T23:47:34.605" v="1412" actId="207"/>
          <ac:spMkLst>
            <pc:docMk/>
            <pc:sldMk cId="204392000" sldId="2823"/>
            <ac:spMk id="14" creationId="{85DB7984-08ED-9AB7-9778-BAC9EF667E17}"/>
          </ac:spMkLst>
        </pc:spChg>
      </pc:sldChg>
      <pc:sldChg chg="modSp add mod">
        <pc:chgData name="Aurelien Domont" userId="6da7715ce44349b3" providerId="LiveId" clId="{1F031B4F-7A08-47B6-9BBE-3BE595172CA2}" dt="2023-02-15T23:47:38.612" v="1413" actId="207"/>
        <pc:sldMkLst>
          <pc:docMk/>
          <pc:sldMk cId="1991075035" sldId="2824"/>
        </pc:sldMkLst>
        <pc:spChg chg="mod">
          <ac:chgData name="Aurelien Domont" userId="6da7715ce44349b3" providerId="LiveId" clId="{1F031B4F-7A08-47B6-9BBE-3BE595172CA2}" dt="2023-02-15T23:47:38.612" v="1413" actId="207"/>
          <ac:spMkLst>
            <pc:docMk/>
            <pc:sldMk cId="1991075035" sldId="2824"/>
            <ac:spMk id="14" creationId="{85DB7984-08ED-9AB7-9778-BAC9EF667E17}"/>
          </ac:spMkLst>
        </pc:spChg>
      </pc:sldChg>
      <pc:sldChg chg="modSp add mod">
        <pc:chgData name="Aurelien Domont" userId="6da7715ce44349b3" providerId="LiveId" clId="{1F031B4F-7A08-47B6-9BBE-3BE595172CA2}" dt="2023-02-15T23:49:36.462" v="1418" actId="207"/>
        <pc:sldMkLst>
          <pc:docMk/>
          <pc:sldMk cId="3300084978" sldId="2825"/>
        </pc:sldMkLst>
        <pc:spChg chg="mod">
          <ac:chgData name="Aurelien Domont" userId="6da7715ce44349b3" providerId="LiveId" clId="{1F031B4F-7A08-47B6-9BBE-3BE595172CA2}" dt="2023-02-15T23:33:21.174" v="1165" actId="207"/>
          <ac:spMkLst>
            <pc:docMk/>
            <pc:sldMk cId="3300084978" sldId="2825"/>
            <ac:spMk id="9" creationId="{0F4B39A0-2803-47D9-93AE-F99798C91F06}"/>
          </ac:spMkLst>
        </pc:spChg>
        <pc:spChg chg="mod">
          <ac:chgData name="Aurelien Domont" userId="6da7715ce44349b3" providerId="LiveId" clId="{1F031B4F-7A08-47B6-9BBE-3BE595172CA2}" dt="2023-02-15T23:33:18.318" v="1164" actId="207"/>
          <ac:spMkLst>
            <pc:docMk/>
            <pc:sldMk cId="3300084978" sldId="2825"/>
            <ac:spMk id="12" creationId="{B9BBA604-AEF4-4807-AD42-75399F0043F4}"/>
          </ac:spMkLst>
        </pc:spChg>
        <pc:spChg chg="mod">
          <ac:chgData name="Aurelien Domont" userId="6da7715ce44349b3" providerId="LiveId" clId="{1F031B4F-7A08-47B6-9BBE-3BE595172CA2}" dt="2023-02-15T23:49:36.462" v="1418" actId="207"/>
          <ac:spMkLst>
            <pc:docMk/>
            <pc:sldMk cId="3300084978" sldId="2825"/>
            <ac:spMk id="32" creationId="{3BEF6079-F38C-4B82-B044-53A13155F334}"/>
          </ac:spMkLst>
        </pc:spChg>
      </pc:sldChg>
      <pc:sldChg chg="modSp add mod">
        <pc:chgData name="Aurelien Domont" userId="6da7715ce44349b3" providerId="LiveId" clId="{1F031B4F-7A08-47B6-9BBE-3BE595172CA2}" dt="2023-02-15T23:49:57.469" v="1419" actId="207"/>
        <pc:sldMkLst>
          <pc:docMk/>
          <pc:sldMk cId="33718065" sldId="2826"/>
        </pc:sldMkLst>
        <pc:spChg chg="mod">
          <ac:chgData name="Aurelien Domont" userId="6da7715ce44349b3" providerId="LiveId" clId="{1F031B4F-7A08-47B6-9BBE-3BE595172CA2}" dt="2023-02-15T23:49:57.469" v="1419" actId="207"/>
          <ac:spMkLst>
            <pc:docMk/>
            <pc:sldMk cId="33718065" sldId="2826"/>
            <ac:spMk id="8" creationId="{72A52A59-2B0C-B438-B79F-EAD1EBFD5A88}"/>
          </ac:spMkLst>
        </pc:spChg>
      </pc:sldChg>
      <pc:sldChg chg="modSp add mod">
        <pc:chgData name="Aurelien Domont" userId="6da7715ce44349b3" providerId="LiveId" clId="{1F031B4F-7A08-47B6-9BBE-3BE595172CA2}" dt="2023-02-15T23:50:03.428" v="1420" actId="207"/>
        <pc:sldMkLst>
          <pc:docMk/>
          <pc:sldMk cId="392799466" sldId="2827"/>
        </pc:sldMkLst>
        <pc:spChg chg="mod">
          <ac:chgData name="Aurelien Domont" userId="6da7715ce44349b3" providerId="LiveId" clId="{1F031B4F-7A08-47B6-9BBE-3BE595172CA2}" dt="2023-02-15T23:50:03.428" v="1420" actId="207"/>
          <ac:spMkLst>
            <pc:docMk/>
            <pc:sldMk cId="392799466" sldId="2827"/>
            <ac:spMk id="8" creationId="{72A52A59-2B0C-B438-B79F-EAD1EBFD5A88}"/>
          </ac:spMkLst>
        </pc:spChg>
      </pc:sldChg>
      <pc:sldChg chg="modSp add mod">
        <pc:chgData name="Aurelien Domont" userId="6da7715ce44349b3" providerId="LiveId" clId="{1F031B4F-7A08-47B6-9BBE-3BE595172CA2}" dt="2023-02-15T23:50:08.613" v="1421" actId="207"/>
        <pc:sldMkLst>
          <pc:docMk/>
          <pc:sldMk cId="2219096630" sldId="2828"/>
        </pc:sldMkLst>
        <pc:spChg chg="mod">
          <ac:chgData name="Aurelien Domont" userId="6da7715ce44349b3" providerId="LiveId" clId="{1F031B4F-7A08-47B6-9BBE-3BE595172CA2}" dt="2023-02-15T23:50:08.613" v="1421" actId="207"/>
          <ac:spMkLst>
            <pc:docMk/>
            <pc:sldMk cId="2219096630" sldId="2828"/>
            <ac:spMk id="8" creationId="{72A52A59-2B0C-B438-B79F-EAD1EBFD5A88}"/>
          </ac:spMkLst>
        </pc:spChg>
      </pc:sldChg>
      <pc:sldChg chg="modSp add mod">
        <pc:chgData name="Aurelien Domont" userId="6da7715ce44349b3" providerId="LiveId" clId="{1F031B4F-7A08-47B6-9BBE-3BE595172CA2}" dt="2023-02-15T23:50:13.405" v="1422" actId="207"/>
        <pc:sldMkLst>
          <pc:docMk/>
          <pc:sldMk cId="3873630409" sldId="2829"/>
        </pc:sldMkLst>
        <pc:spChg chg="mod">
          <ac:chgData name="Aurelien Domont" userId="6da7715ce44349b3" providerId="LiveId" clId="{1F031B4F-7A08-47B6-9BBE-3BE595172CA2}" dt="2023-02-15T23:50:13.405" v="1422" actId="207"/>
          <ac:spMkLst>
            <pc:docMk/>
            <pc:sldMk cId="3873630409" sldId="2829"/>
            <ac:spMk id="8" creationId="{72A52A59-2B0C-B438-B79F-EAD1EBFD5A88}"/>
          </ac:spMkLst>
        </pc:spChg>
      </pc:sldChg>
      <pc:sldChg chg="modSp add mod">
        <pc:chgData name="Aurelien Domont" userId="6da7715ce44349b3" providerId="LiveId" clId="{1F031B4F-7A08-47B6-9BBE-3BE595172CA2}" dt="2023-02-15T23:50:19.420" v="1423" actId="207"/>
        <pc:sldMkLst>
          <pc:docMk/>
          <pc:sldMk cId="2587246912" sldId="2830"/>
        </pc:sldMkLst>
        <pc:spChg chg="mod">
          <ac:chgData name="Aurelien Domont" userId="6da7715ce44349b3" providerId="LiveId" clId="{1F031B4F-7A08-47B6-9BBE-3BE595172CA2}" dt="2023-02-15T23:50:19.420" v="1423" actId="207"/>
          <ac:spMkLst>
            <pc:docMk/>
            <pc:sldMk cId="2587246912" sldId="2830"/>
            <ac:spMk id="8" creationId="{72A52A59-2B0C-B438-B79F-EAD1EBFD5A88}"/>
          </ac:spMkLst>
        </pc:spChg>
      </pc:sldChg>
      <pc:sldChg chg="modSp add mod">
        <pc:chgData name="Aurelien Domont" userId="6da7715ce44349b3" providerId="LiveId" clId="{1F031B4F-7A08-47B6-9BBE-3BE595172CA2}" dt="2023-02-15T23:50:23.728" v="1424" actId="207"/>
        <pc:sldMkLst>
          <pc:docMk/>
          <pc:sldMk cId="4207867199" sldId="2831"/>
        </pc:sldMkLst>
        <pc:spChg chg="mod">
          <ac:chgData name="Aurelien Domont" userId="6da7715ce44349b3" providerId="LiveId" clId="{1F031B4F-7A08-47B6-9BBE-3BE595172CA2}" dt="2023-02-15T23:50:23.728" v="1424" actId="207"/>
          <ac:spMkLst>
            <pc:docMk/>
            <pc:sldMk cId="4207867199" sldId="2831"/>
            <ac:spMk id="8" creationId="{72A52A59-2B0C-B438-B79F-EAD1EBFD5A88}"/>
          </ac:spMkLst>
        </pc:spChg>
      </pc:sldChg>
      <pc:sldChg chg="modSp add mod">
        <pc:chgData name="Aurelien Domont" userId="6da7715ce44349b3" providerId="LiveId" clId="{1F031B4F-7A08-47B6-9BBE-3BE595172CA2}" dt="2023-02-15T23:50:27.949" v="1425" actId="207"/>
        <pc:sldMkLst>
          <pc:docMk/>
          <pc:sldMk cId="515077404" sldId="2832"/>
        </pc:sldMkLst>
        <pc:spChg chg="mod">
          <ac:chgData name="Aurelien Domont" userId="6da7715ce44349b3" providerId="LiveId" clId="{1F031B4F-7A08-47B6-9BBE-3BE595172CA2}" dt="2023-02-15T23:50:27.949" v="1425" actId="207"/>
          <ac:spMkLst>
            <pc:docMk/>
            <pc:sldMk cId="515077404" sldId="2832"/>
            <ac:spMk id="8" creationId="{72A52A59-2B0C-B438-B79F-EAD1EBFD5A88}"/>
          </ac:spMkLst>
        </pc:spChg>
      </pc:sldChg>
      <pc:sldChg chg="modSp add mod">
        <pc:chgData name="Aurelien Domont" userId="6da7715ce44349b3" providerId="LiveId" clId="{1F031B4F-7A08-47B6-9BBE-3BE595172CA2}" dt="2023-02-15T23:50:33.043" v="1426" actId="207"/>
        <pc:sldMkLst>
          <pc:docMk/>
          <pc:sldMk cId="1807432079" sldId="2833"/>
        </pc:sldMkLst>
        <pc:spChg chg="mod">
          <ac:chgData name="Aurelien Domont" userId="6da7715ce44349b3" providerId="LiveId" clId="{1F031B4F-7A08-47B6-9BBE-3BE595172CA2}" dt="2023-02-15T23:50:33.043" v="1426" actId="207"/>
          <ac:spMkLst>
            <pc:docMk/>
            <pc:sldMk cId="1807432079" sldId="2833"/>
            <ac:spMk id="8" creationId="{72A52A59-2B0C-B438-B79F-EAD1EBFD5A88}"/>
          </ac:spMkLst>
        </pc:spChg>
      </pc:sldChg>
      <pc:sldChg chg="add del">
        <pc:chgData name="Aurelien Domont" userId="6da7715ce44349b3" providerId="LiveId" clId="{1F031B4F-7A08-47B6-9BBE-3BE595172CA2}" dt="2023-02-15T23:34:28.626" v="1189" actId="47"/>
        <pc:sldMkLst>
          <pc:docMk/>
          <pc:sldMk cId="3322524465" sldId="2834"/>
        </pc:sldMkLst>
      </pc:sldChg>
      <pc:sldChg chg="modSp add mod">
        <pc:chgData name="Aurelien Domont" userId="6da7715ce44349b3" providerId="LiveId" clId="{1F031B4F-7A08-47B6-9BBE-3BE595172CA2}" dt="2023-02-16T00:00:10.591" v="1538" actId="207"/>
        <pc:sldMkLst>
          <pc:docMk/>
          <pc:sldMk cId="448699485" sldId="2835"/>
        </pc:sldMkLst>
        <pc:spChg chg="mod">
          <ac:chgData name="Aurelien Domont" userId="6da7715ce44349b3" providerId="LiveId" clId="{1F031B4F-7A08-47B6-9BBE-3BE595172CA2}" dt="2023-02-15T23:34:11.988" v="1185" actId="207"/>
          <ac:spMkLst>
            <pc:docMk/>
            <pc:sldMk cId="448699485" sldId="2835"/>
            <ac:spMk id="10" creationId="{52524284-CA7D-416E-ADDB-CAB7040B62C4}"/>
          </ac:spMkLst>
        </pc:spChg>
        <pc:spChg chg="mod">
          <ac:chgData name="Aurelien Domont" userId="6da7715ce44349b3" providerId="LiveId" clId="{1F031B4F-7A08-47B6-9BBE-3BE595172CA2}" dt="2023-02-15T23:34:14.743" v="1186" actId="108"/>
          <ac:spMkLst>
            <pc:docMk/>
            <pc:sldMk cId="448699485" sldId="2835"/>
            <ac:spMk id="12" creationId="{B9BBA604-AEF4-4807-AD42-75399F0043F4}"/>
          </ac:spMkLst>
        </pc:spChg>
        <pc:spChg chg="mod">
          <ac:chgData name="Aurelien Domont" userId="6da7715ce44349b3" providerId="LiveId" clId="{1F031B4F-7A08-47B6-9BBE-3BE595172CA2}" dt="2023-02-16T00:00:10.591" v="1538" actId="207"/>
          <ac:spMkLst>
            <pc:docMk/>
            <pc:sldMk cId="448699485" sldId="2835"/>
            <ac:spMk id="21" creationId="{65195D31-8CD1-9CAD-EDAB-5DC5BCEFF793}"/>
          </ac:spMkLst>
        </pc:spChg>
      </pc:sldChg>
      <pc:sldChg chg="modSp add mod">
        <pc:chgData name="Aurelien Domont" userId="6da7715ce44349b3" providerId="LiveId" clId="{1F031B4F-7A08-47B6-9BBE-3BE595172CA2}" dt="2023-02-15T23:59:54.174" v="1537" actId="207"/>
        <pc:sldMkLst>
          <pc:docMk/>
          <pc:sldMk cId="3754344301" sldId="2836"/>
        </pc:sldMkLst>
        <pc:spChg chg="mod">
          <ac:chgData name="Aurelien Domont" userId="6da7715ce44349b3" providerId="LiveId" clId="{1F031B4F-7A08-47B6-9BBE-3BE595172CA2}" dt="2023-02-15T23:59:54.174" v="1537" actId="207"/>
          <ac:spMkLst>
            <pc:docMk/>
            <pc:sldMk cId="3754344301" sldId="2836"/>
            <ac:spMk id="33" creationId="{8260BE05-FEA7-4631-88CD-752AC5C966BA}"/>
          </ac:spMkLst>
        </pc:spChg>
      </pc:sldChg>
      <pc:sldChg chg="modSp add mod">
        <pc:chgData name="Aurelien Domont" userId="6da7715ce44349b3" providerId="LiveId" clId="{1F031B4F-7A08-47B6-9BBE-3BE595172CA2}" dt="2023-02-16T00:00:14.825" v="1539" actId="207"/>
        <pc:sldMkLst>
          <pc:docMk/>
          <pc:sldMk cId="2844622679" sldId="2837"/>
        </pc:sldMkLst>
        <pc:spChg chg="mod">
          <ac:chgData name="Aurelien Domont" userId="6da7715ce44349b3" providerId="LiveId" clId="{1F031B4F-7A08-47B6-9BBE-3BE595172CA2}" dt="2023-02-16T00:00:14.825" v="1539" actId="207"/>
          <ac:spMkLst>
            <pc:docMk/>
            <pc:sldMk cId="2844622679" sldId="2837"/>
            <ac:spMk id="21" creationId="{65195D31-8CD1-9CAD-EDAB-5DC5BCEFF793}"/>
          </ac:spMkLst>
        </pc:spChg>
      </pc:sldChg>
      <pc:sldChg chg="modSp add mod">
        <pc:chgData name="Aurelien Domont" userId="6da7715ce44349b3" providerId="LiveId" clId="{1F031B4F-7A08-47B6-9BBE-3BE595172CA2}" dt="2023-02-16T00:00:18.628" v="1540" actId="207"/>
        <pc:sldMkLst>
          <pc:docMk/>
          <pc:sldMk cId="931108701" sldId="2838"/>
        </pc:sldMkLst>
        <pc:spChg chg="mod">
          <ac:chgData name="Aurelien Domont" userId="6da7715ce44349b3" providerId="LiveId" clId="{1F031B4F-7A08-47B6-9BBE-3BE595172CA2}" dt="2023-02-16T00:00:18.628" v="1540" actId="207"/>
          <ac:spMkLst>
            <pc:docMk/>
            <pc:sldMk cId="931108701" sldId="2838"/>
            <ac:spMk id="21" creationId="{65195D31-8CD1-9CAD-EDAB-5DC5BCEFF793}"/>
          </ac:spMkLst>
        </pc:spChg>
      </pc:sldChg>
      <pc:sldChg chg="modSp add mod">
        <pc:chgData name="Aurelien Domont" userId="6da7715ce44349b3" providerId="LiveId" clId="{1F031B4F-7A08-47B6-9BBE-3BE595172CA2}" dt="2023-02-16T00:00:22.180" v="1541" actId="207"/>
        <pc:sldMkLst>
          <pc:docMk/>
          <pc:sldMk cId="1839749288" sldId="2839"/>
        </pc:sldMkLst>
        <pc:spChg chg="mod">
          <ac:chgData name="Aurelien Domont" userId="6da7715ce44349b3" providerId="LiveId" clId="{1F031B4F-7A08-47B6-9BBE-3BE595172CA2}" dt="2023-02-16T00:00:22.180" v="1541" actId="207"/>
          <ac:spMkLst>
            <pc:docMk/>
            <pc:sldMk cId="1839749288" sldId="2839"/>
            <ac:spMk id="21" creationId="{65195D31-8CD1-9CAD-EDAB-5DC5BCEFF793}"/>
          </ac:spMkLst>
        </pc:spChg>
      </pc:sldChg>
      <pc:sldChg chg="modSp add mod">
        <pc:chgData name="Aurelien Domont" userId="6da7715ce44349b3" providerId="LiveId" clId="{1F031B4F-7A08-47B6-9BBE-3BE595172CA2}" dt="2023-02-16T00:00:25.992" v="1542" actId="207"/>
        <pc:sldMkLst>
          <pc:docMk/>
          <pc:sldMk cId="99299538" sldId="2840"/>
        </pc:sldMkLst>
        <pc:spChg chg="mod">
          <ac:chgData name="Aurelien Domont" userId="6da7715ce44349b3" providerId="LiveId" clId="{1F031B4F-7A08-47B6-9BBE-3BE595172CA2}" dt="2023-02-16T00:00:25.992" v="1542" actId="207"/>
          <ac:spMkLst>
            <pc:docMk/>
            <pc:sldMk cId="99299538" sldId="2840"/>
            <ac:spMk id="21" creationId="{65195D31-8CD1-9CAD-EDAB-5DC5BCEFF793}"/>
          </ac:spMkLst>
        </pc:spChg>
      </pc:sldChg>
      <pc:sldChg chg="modSp add mod">
        <pc:chgData name="Aurelien Domont" userId="6da7715ce44349b3" providerId="LiveId" clId="{1F031B4F-7A08-47B6-9BBE-3BE595172CA2}" dt="2023-02-16T00:00:31.016" v="1543" actId="207"/>
        <pc:sldMkLst>
          <pc:docMk/>
          <pc:sldMk cId="2897878408" sldId="2841"/>
        </pc:sldMkLst>
        <pc:spChg chg="mod">
          <ac:chgData name="Aurelien Domont" userId="6da7715ce44349b3" providerId="LiveId" clId="{1F031B4F-7A08-47B6-9BBE-3BE595172CA2}" dt="2023-02-16T00:00:31.016" v="1543" actId="207"/>
          <ac:spMkLst>
            <pc:docMk/>
            <pc:sldMk cId="2897878408" sldId="2841"/>
            <ac:spMk id="21" creationId="{65195D31-8CD1-9CAD-EDAB-5DC5BCEFF793}"/>
          </ac:spMkLst>
        </pc:spChg>
      </pc:sldChg>
      <pc:sldChg chg="modSp add mod">
        <pc:chgData name="Aurelien Domont" userId="6da7715ce44349b3" providerId="LiveId" clId="{1F031B4F-7A08-47B6-9BBE-3BE595172CA2}" dt="2023-02-16T00:00:34.787" v="1544" actId="207"/>
        <pc:sldMkLst>
          <pc:docMk/>
          <pc:sldMk cId="351107340" sldId="2842"/>
        </pc:sldMkLst>
        <pc:spChg chg="mod">
          <ac:chgData name="Aurelien Domont" userId="6da7715ce44349b3" providerId="LiveId" clId="{1F031B4F-7A08-47B6-9BBE-3BE595172CA2}" dt="2023-02-16T00:00:34.787" v="1544" actId="207"/>
          <ac:spMkLst>
            <pc:docMk/>
            <pc:sldMk cId="351107340" sldId="2842"/>
            <ac:spMk id="21" creationId="{65195D31-8CD1-9CAD-EDAB-5DC5BCEFF793}"/>
          </ac:spMkLst>
        </pc:spChg>
      </pc:sldChg>
      <pc:sldChg chg="modSp add mod">
        <pc:chgData name="Aurelien Domont" userId="6da7715ce44349b3" providerId="LiveId" clId="{1F031B4F-7A08-47B6-9BBE-3BE595172CA2}" dt="2023-02-16T00:00:38.134" v="1545" actId="207"/>
        <pc:sldMkLst>
          <pc:docMk/>
          <pc:sldMk cId="3301408557" sldId="2843"/>
        </pc:sldMkLst>
        <pc:spChg chg="mod">
          <ac:chgData name="Aurelien Domont" userId="6da7715ce44349b3" providerId="LiveId" clId="{1F031B4F-7A08-47B6-9BBE-3BE595172CA2}" dt="2023-02-16T00:00:38.134" v="1545" actId="207"/>
          <ac:spMkLst>
            <pc:docMk/>
            <pc:sldMk cId="3301408557" sldId="2843"/>
            <ac:spMk id="21" creationId="{65195D31-8CD1-9CAD-EDAB-5DC5BCEFF793}"/>
          </ac:spMkLst>
        </pc:spChg>
      </pc:sldChg>
      <pc:sldChg chg="modSp add mod">
        <pc:chgData name="Aurelien Domont" userId="6da7715ce44349b3" providerId="LiveId" clId="{1F031B4F-7A08-47B6-9BBE-3BE595172CA2}" dt="2023-02-16T00:00:42.468" v="1546" actId="207"/>
        <pc:sldMkLst>
          <pc:docMk/>
          <pc:sldMk cId="820944881" sldId="2844"/>
        </pc:sldMkLst>
        <pc:spChg chg="mod">
          <ac:chgData name="Aurelien Domont" userId="6da7715ce44349b3" providerId="LiveId" clId="{1F031B4F-7A08-47B6-9BBE-3BE595172CA2}" dt="2023-02-16T00:00:42.468" v="1546" actId="207"/>
          <ac:spMkLst>
            <pc:docMk/>
            <pc:sldMk cId="820944881" sldId="2844"/>
            <ac:spMk id="21" creationId="{65195D31-8CD1-9CAD-EDAB-5DC5BCEFF793}"/>
          </ac:spMkLst>
        </pc:spChg>
      </pc:sldChg>
      <pc:sldChg chg="modSp add mod">
        <pc:chgData name="Aurelien Domont" userId="6da7715ce44349b3" providerId="LiveId" clId="{1F031B4F-7A08-47B6-9BBE-3BE595172CA2}" dt="2023-02-16T00:00:49.661" v="1547" actId="207"/>
        <pc:sldMkLst>
          <pc:docMk/>
          <pc:sldMk cId="1182925878" sldId="2845"/>
        </pc:sldMkLst>
        <pc:spChg chg="mod">
          <ac:chgData name="Aurelien Domont" userId="6da7715ce44349b3" providerId="LiveId" clId="{1F031B4F-7A08-47B6-9BBE-3BE595172CA2}" dt="2023-02-16T00:00:49.661" v="1547" actId="207"/>
          <ac:spMkLst>
            <pc:docMk/>
            <pc:sldMk cId="1182925878" sldId="2845"/>
            <ac:spMk id="21" creationId="{65195D31-8CD1-9CAD-EDAB-5DC5BCEFF793}"/>
          </ac:spMkLst>
        </pc:spChg>
      </pc:sldChg>
      <pc:sldChg chg="modSp add mod">
        <pc:chgData name="Aurelien Domont" userId="6da7715ce44349b3" providerId="LiveId" clId="{1F031B4F-7A08-47B6-9BBE-3BE595172CA2}" dt="2023-02-16T00:00:54.866" v="1548" actId="207"/>
        <pc:sldMkLst>
          <pc:docMk/>
          <pc:sldMk cId="2656530410" sldId="2846"/>
        </pc:sldMkLst>
        <pc:spChg chg="mod">
          <ac:chgData name="Aurelien Domont" userId="6da7715ce44349b3" providerId="LiveId" clId="{1F031B4F-7A08-47B6-9BBE-3BE595172CA2}" dt="2023-02-16T00:00:54.866" v="1548" actId="207"/>
          <ac:spMkLst>
            <pc:docMk/>
            <pc:sldMk cId="2656530410" sldId="2846"/>
            <ac:spMk id="21" creationId="{65195D31-8CD1-9CAD-EDAB-5DC5BCEFF793}"/>
          </ac:spMkLst>
        </pc:spChg>
      </pc:sldChg>
      <pc:sldChg chg="modSp add mod">
        <pc:chgData name="Aurelien Domont" userId="6da7715ce44349b3" providerId="LiveId" clId="{1F031B4F-7A08-47B6-9BBE-3BE595172CA2}" dt="2023-02-16T00:01:10.583" v="1551" actId="207"/>
        <pc:sldMkLst>
          <pc:docMk/>
          <pc:sldMk cId="2759316881" sldId="2847"/>
        </pc:sldMkLst>
        <pc:spChg chg="mod">
          <ac:chgData name="Aurelien Domont" userId="6da7715ce44349b3" providerId="LiveId" clId="{1F031B4F-7A08-47B6-9BBE-3BE595172CA2}" dt="2023-02-16T00:01:07.150" v="1550" actId="207"/>
          <ac:spMkLst>
            <pc:docMk/>
            <pc:sldMk cId="2759316881" sldId="2847"/>
            <ac:spMk id="10" creationId="{52524284-CA7D-416E-ADDB-CAB7040B62C4}"/>
          </ac:spMkLst>
        </pc:spChg>
        <pc:spChg chg="mod">
          <ac:chgData name="Aurelien Domont" userId="6da7715ce44349b3" providerId="LiveId" clId="{1F031B4F-7A08-47B6-9BBE-3BE595172CA2}" dt="2023-02-16T00:01:02.100" v="1549" actId="207"/>
          <ac:spMkLst>
            <pc:docMk/>
            <pc:sldMk cId="2759316881" sldId="2847"/>
            <ac:spMk id="11" creationId="{DCA1B29F-4AB2-4DAE-B498-BC74026B1DDA}"/>
          </ac:spMkLst>
        </pc:spChg>
        <pc:spChg chg="mod">
          <ac:chgData name="Aurelien Domont" userId="6da7715ce44349b3" providerId="LiveId" clId="{1F031B4F-7A08-47B6-9BBE-3BE595172CA2}" dt="2023-02-16T00:01:10.583" v="1551" actId="207"/>
          <ac:spMkLst>
            <pc:docMk/>
            <pc:sldMk cId="2759316881" sldId="2847"/>
            <ac:spMk id="34" creationId="{473B4042-51F1-41BD-8EDF-E03E66716A5A}"/>
          </ac:spMkLst>
        </pc:spChg>
      </pc:sldChg>
      <pc:sldChg chg="addSp delSp modSp add mod">
        <pc:chgData name="Aurelien Domont" userId="6da7715ce44349b3" providerId="LiveId" clId="{1F031B4F-7A08-47B6-9BBE-3BE595172CA2}" dt="2023-02-16T00:01:18.801" v="1552" actId="207"/>
        <pc:sldMkLst>
          <pc:docMk/>
          <pc:sldMk cId="2052774859" sldId="2848"/>
        </pc:sldMkLst>
        <pc:spChg chg="add mod">
          <ac:chgData name="Aurelien Domont" userId="6da7715ce44349b3" providerId="LiveId" clId="{1F031B4F-7A08-47B6-9BBE-3BE595172CA2}" dt="2023-02-15T23:35:44.167" v="1219" actId="207"/>
          <ac:spMkLst>
            <pc:docMk/>
            <pc:sldMk cId="2052774859" sldId="2848"/>
            <ac:spMk id="2" creationId="{DCC77A72-0611-AD47-3B11-3DA7A04498AA}"/>
          </ac:spMkLst>
        </pc:spChg>
        <pc:spChg chg="add del mod">
          <ac:chgData name="Aurelien Domont" userId="6da7715ce44349b3" providerId="LiveId" clId="{1F031B4F-7A08-47B6-9BBE-3BE595172CA2}" dt="2023-02-15T23:35:55.563" v="1222"/>
          <ac:spMkLst>
            <pc:docMk/>
            <pc:sldMk cId="2052774859" sldId="2848"/>
            <ac:spMk id="6" creationId="{CB3BD795-0151-2A75-4DB7-698349729202}"/>
          </ac:spMkLst>
        </pc:spChg>
        <pc:spChg chg="mod">
          <ac:chgData name="Aurelien Domont" userId="6da7715ce44349b3" providerId="LiveId" clId="{1F031B4F-7A08-47B6-9BBE-3BE595172CA2}" dt="2023-02-15T23:36:07.114" v="1224" actId="207"/>
          <ac:spMkLst>
            <pc:docMk/>
            <pc:sldMk cId="2052774859" sldId="2848"/>
            <ac:spMk id="10" creationId="{52524284-CA7D-416E-ADDB-CAB7040B62C4}"/>
          </ac:spMkLst>
        </pc:spChg>
        <pc:spChg chg="mod">
          <ac:chgData name="Aurelien Domont" userId="6da7715ce44349b3" providerId="LiveId" clId="{1F031B4F-7A08-47B6-9BBE-3BE595172CA2}" dt="2023-02-15T23:36:03.200" v="1223" actId="207"/>
          <ac:spMkLst>
            <pc:docMk/>
            <pc:sldMk cId="2052774859" sldId="2848"/>
            <ac:spMk id="11" creationId="{DCA1B29F-4AB2-4DAE-B498-BC74026B1DDA}"/>
          </ac:spMkLst>
        </pc:spChg>
        <pc:spChg chg="mod">
          <ac:chgData name="Aurelien Domont" userId="6da7715ce44349b3" providerId="LiveId" clId="{1F031B4F-7A08-47B6-9BBE-3BE595172CA2}" dt="2023-02-16T00:01:18.801" v="1552" actId="207"/>
          <ac:spMkLst>
            <pc:docMk/>
            <pc:sldMk cId="2052774859" sldId="2848"/>
            <ac:spMk id="26" creationId="{60AA3177-69A2-8959-DB8F-FDAAC70C5894}"/>
          </ac:spMkLst>
        </pc:spChg>
      </pc:sldChg>
      <pc:sldChg chg="delSp modSp add mod">
        <pc:chgData name="Aurelien Domont" userId="6da7715ce44349b3" providerId="LiveId" clId="{1F031B4F-7A08-47B6-9BBE-3BE595172CA2}" dt="2023-02-16T00:01:22.737" v="1553" actId="207"/>
        <pc:sldMkLst>
          <pc:docMk/>
          <pc:sldMk cId="3027109485" sldId="2849"/>
        </pc:sldMkLst>
        <pc:spChg chg="del">
          <ac:chgData name="Aurelien Domont" userId="6da7715ce44349b3" providerId="LiveId" clId="{1F031B4F-7A08-47B6-9BBE-3BE595172CA2}" dt="2023-02-15T23:36:50.463" v="1226" actId="478"/>
          <ac:spMkLst>
            <pc:docMk/>
            <pc:sldMk cId="3027109485" sldId="2849"/>
            <ac:spMk id="2" creationId="{DCC77A72-0611-AD47-3B11-3DA7A04498AA}"/>
          </ac:spMkLst>
        </pc:spChg>
        <pc:spChg chg="mod">
          <ac:chgData name="Aurelien Domont" userId="6da7715ce44349b3" providerId="LiveId" clId="{1F031B4F-7A08-47B6-9BBE-3BE595172CA2}" dt="2023-02-16T00:01:22.737" v="1553" actId="207"/>
          <ac:spMkLst>
            <pc:docMk/>
            <pc:sldMk cId="3027109485" sldId="2849"/>
            <ac:spMk id="26" creationId="{60AA3177-69A2-8959-DB8F-FDAAC70C5894}"/>
          </ac:spMkLst>
        </pc:spChg>
      </pc:sldChg>
      <pc:sldChg chg="modSp add mod">
        <pc:chgData name="Aurelien Domont" userId="6da7715ce44349b3" providerId="LiveId" clId="{1F031B4F-7A08-47B6-9BBE-3BE595172CA2}" dt="2023-02-16T00:01:26.209" v="1554" actId="207"/>
        <pc:sldMkLst>
          <pc:docMk/>
          <pc:sldMk cId="1571382826" sldId="2850"/>
        </pc:sldMkLst>
        <pc:spChg chg="mod">
          <ac:chgData name="Aurelien Domont" userId="6da7715ce44349b3" providerId="LiveId" clId="{1F031B4F-7A08-47B6-9BBE-3BE595172CA2}" dt="2023-02-16T00:01:26.209" v="1554" actId="207"/>
          <ac:spMkLst>
            <pc:docMk/>
            <pc:sldMk cId="1571382826" sldId="2850"/>
            <ac:spMk id="26" creationId="{60AA3177-69A2-8959-DB8F-FDAAC70C5894}"/>
          </ac:spMkLst>
        </pc:spChg>
      </pc:sldChg>
      <pc:sldChg chg="modSp add mod">
        <pc:chgData name="Aurelien Domont" userId="6da7715ce44349b3" providerId="LiveId" clId="{1F031B4F-7A08-47B6-9BBE-3BE595172CA2}" dt="2023-02-16T00:01:30.773" v="1555" actId="207"/>
        <pc:sldMkLst>
          <pc:docMk/>
          <pc:sldMk cId="3635585553" sldId="2851"/>
        </pc:sldMkLst>
        <pc:spChg chg="mod">
          <ac:chgData name="Aurelien Domont" userId="6da7715ce44349b3" providerId="LiveId" clId="{1F031B4F-7A08-47B6-9BBE-3BE595172CA2}" dt="2023-02-16T00:01:30.773" v="1555" actId="207"/>
          <ac:spMkLst>
            <pc:docMk/>
            <pc:sldMk cId="3635585553" sldId="2851"/>
            <ac:spMk id="26" creationId="{60AA3177-69A2-8959-DB8F-FDAAC70C5894}"/>
          </ac:spMkLst>
        </pc:spChg>
      </pc:sldChg>
      <pc:sldChg chg="modSp add mod">
        <pc:chgData name="Aurelien Domont" userId="6da7715ce44349b3" providerId="LiveId" clId="{1F031B4F-7A08-47B6-9BBE-3BE595172CA2}" dt="2023-02-16T00:01:34.088" v="1556" actId="207"/>
        <pc:sldMkLst>
          <pc:docMk/>
          <pc:sldMk cId="2695002001" sldId="2852"/>
        </pc:sldMkLst>
        <pc:spChg chg="mod">
          <ac:chgData name="Aurelien Domont" userId="6da7715ce44349b3" providerId="LiveId" clId="{1F031B4F-7A08-47B6-9BBE-3BE595172CA2}" dt="2023-02-16T00:01:34.088" v="1556" actId="207"/>
          <ac:spMkLst>
            <pc:docMk/>
            <pc:sldMk cId="2695002001" sldId="2852"/>
            <ac:spMk id="26" creationId="{60AA3177-69A2-8959-DB8F-FDAAC70C5894}"/>
          </ac:spMkLst>
        </pc:spChg>
      </pc:sldChg>
      <pc:sldChg chg="modSp add mod">
        <pc:chgData name="Aurelien Domont" userId="6da7715ce44349b3" providerId="LiveId" clId="{1F031B4F-7A08-47B6-9BBE-3BE595172CA2}" dt="2023-02-16T00:01:37.929" v="1557" actId="207"/>
        <pc:sldMkLst>
          <pc:docMk/>
          <pc:sldMk cId="3951331113" sldId="2853"/>
        </pc:sldMkLst>
        <pc:spChg chg="mod">
          <ac:chgData name="Aurelien Domont" userId="6da7715ce44349b3" providerId="LiveId" clId="{1F031B4F-7A08-47B6-9BBE-3BE595172CA2}" dt="2023-02-16T00:01:37.929" v="1557" actId="207"/>
          <ac:spMkLst>
            <pc:docMk/>
            <pc:sldMk cId="3951331113" sldId="2853"/>
            <ac:spMk id="26" creationId="{60AA3177-69A2-8959-DB8F-FDAAC70C5894}"/>
          </ac:spMkLst>
        </pc:spChg>
      </pc:sldChg>
      <pc:sldChg chg="modSp add mod">
        <pc:chgData name="Aurelien Domont" userId="6da7715ce44349b3" providerId="LiveId" clId="{1F031B4F-7A08-47B6-9BBE-3BE595172CA2}" dt="2023-02-16T00:01:42.187" v="1558" actId="207"/>
        <pc:sldMkLst>
          <pc:docMk/>
          <pc:sldMk cId="802179577" sldId="2854"/>
        </pc:sldMkLst>
        <pc:spChg chg="mod">
          <ac:chgData name="Aurelien Domont" userId="6da7715ce44349b3" providerId="LiveId" clId="{1F031B4F-7A08-47B6-9BBE-3BE595172CA2}" dt="2023-02-16T00:01:42.187" v="1558" actId="207"/>
          <ac:spMkLst>
            <pc:docMk/>
            <pc:sldMk cId="802179577" sldId="2854"/>
            <ac:spMk id="26" creationId="{60AA3177-69A2-8959-DB8F-FDAAC70C5894}"/>
          </ac:spMkLst>
        </pc:spChg>
      </pc:sldChg>
      <pc:sldChg chg="modSp add mod">
        <pc:chgData name="Aurelien Domont" userId="6da7715ce44349b3" providerId="LiveId" clId="{1F031B4F-7A08-47B6-9BBE-3BE595172CA2}" dt="2023-02-16T00:01:46.123" v="1559" actId="207"/>
        <pc:sldMkLst>
          <pc:docMk/>
          <pc:sldMk cId="652607941" sldId="2855"/>
        </pc:sldMkLst>
        <pc:spChg chg="mod">
          <ac:chgData name="Aurelien Domont" userId="6da7715ce44349b3" providerId="LiveId" clId="{1F031B4F-7A08-47B6-9BBE-3BE595172CA2}" dt="2023-02-16T00:01:46.123" v="1559" actId="207"/>
          <ac:spMkLst>
            <pc:docMk/>
            <pc:sldMk cId="652607941" sldId="2855"/>
            <ac:spMk id="26" creationId="{60AA3177-69A2-8959-DB8F-FDAAC70C5894}"/>
          </ac:spMkLst>
        </pc:spChg>
      </pc:sldChg>
      <pc:sldChg chg="modSp add mod">
        <pc:chgData name="Aurelien Domont" userId="6da7715ce44349b3" providerId="LiveId" clId="{1F031B4F-7A08-47B6-9BBE-3BE595172CA2}" dt="2023-02-16T00:02:11.741" v="1562" actId="207"/>
        <pc:sldMkLst>
          <pc:docMk/>
          <pc:sldMk cId="1312466160" sldId="2856"/>
        </pc:sldMkLst>
        <pc:spChg chg="mod">
          <ac:chgData name="Aurelien Domont" userId="6da7715ce44349b3" providerId="LiveId" clId="{1F031B4F-7A08-47B6-9BBE-3BE595172CA2}" dt="2023-02-16T00:02:07.280" v="1561" actId="207"/>
          <ac:spMkLst>
            <pc:docMk/>
            <pc:sldMk cId="1312466160" sldId="2856"/>
            <ac:spMk id="11" creationId="{DCA1B29F-4AB2-4DAE-B498-BC74026B1DDA}"/>
          </ac:spMkLst>
        </pc:spChg>
        <pc:spChg chg="mod">
          <ac:chgData name="Aurelien Domont" userId="6da7715ce44349b3" providerId="LiveId" clId="{1F031B4F-7A08-47B6-9BBE-3BE595172CA2}" dt="2023-02-16T00:02:03.818" v="1560" actId="207"/>
          <ac:spMkLst>
            <pc:docMk/>
            <pc:sldMk cId="1312466160" sldId="2856"/>
            <ac:spMk id="22" creationId="{8664D20B-2002-4C9F-A94C-AB6D33819DF8}"/>
          </ac:spMkLst>
        </pc:spChg>
        <pc:spChg chg="mod">
          <ac:chgData name="Aurelien Domont" userId="6da7715ce44349b3" providerId="LiveId" clId="{1F031B4F-7A08-47B6-9BBE-3BE595172CA2}" dt="2023-02-16T00:02:11.741" v="1562" actId="207"/>
          <ac:spMkLst>
            <pc:docMk/>
            <pc:sldMk cId="1312466160" sldId="2856"/>
            <ac:spMk id="35" creationId="{64C38490-8643-4DBA-8D8B-54C587ECA10D}"/>
          </ac:spMkLst>
        </pc:spChg>
      </pc:sldChg>
      <pc:sldChg chg="modSp add mod">
        <pc:chgData name="Aurelien Domont" userId="6da7715ce44349b3" providerId="LiveId" clId="{1F031B4F-7A08-47B6-9BBE-3BE595172CA2}" dt="2023-02-16T00:03:18.161" v="1571" actId="207"/>
        <pc:sldMkLst>
          <pc:docMk/>
          <pc:sldMk cId="1521977314" sldId="2857"/>
        </pc:sldMkLst>
        <pc:spChg chg="mod">
          <ac:chgData name="Aurelien Domont" userId="6da7715ce44349b3" providerId="LiveId" clId="{1F031B4F-7A08-47B6-9BBE-3BE595172CA2}" dt="2023-02-16T00:02:21.475" v="1563" actId="207"/>
          <ac:spMkLst>
            <pc:docMk/>
            <pc:sldMk cId="1521977314" sldId="2857"/>
            <ac:spMk id="11" creationId="{DCA1B29F-4AB2-4DAE-B498-BC74026B1DDA}"/>
          </ac:spMkLst>
        </pc:spChg>
        <pc:spChg chg="mod">
          <ac:chgData name="Aurelien Domont" userId="6da7715ce44349b3" providerId="LiveId" clId="{1F031B4F-7A08-47B6-9BBE-3BE595172CA2}" dt="2023-02-16T00:02:23.826" v="1564" actId="207"/>
          <ac:spMkLst>
            <pc:docMk/>
            <pc:sldMk cId="1521977314" sldId="2857"/>
            <ac:spMk id="22" creationId="{8664D20B-2002-4C9F-A94C-AB6D33819DF8}"/>
          </ac:spMkLst>
        </pc:spChg>
        <pc:spChg chg="mod">
          <ac:chgData name="Aurelien Domont" userId="6da7715ce44349b3" providerId="LiveId" clId="{1F031B4F-7A08-47B6-9BBE-3BE595172CA2}" dt="2023-02-16T00:03:18.161" v="1571" actId="207"/>
          <ac:spMkLst>
            <pc:docMk/>
            <pc:sldMk cId="1521977314" sldId="2857"/>
            <ac:spMk id="29" creationId="{8F984EF8-19B2-4B5E-98EC-433CCE26E2A7}"/>
          </ac:spMkLst>
        </pc:spChg>
      </pc:sldChg>
      <pc:sldChg chg="add del">
        <pc:chgData name="Aurelien Domont" userId="6da7715ce44349b3" providerId="LiveId" clId="{1F031B4F-7A08-47B6-9BBE-3BE595172CA2}" dt="2023-02-16T00:02:42.380" v="1567" actId="47"/>
        <pc:sldMkLst>
          <pc:docMk/>
          <pc:sldMk cId="3898976042" sldId="2858"/>
        </pc:sldMkLst>
      </pc:sldChg>
      <pc:sldChg chg="add del">
        <pc:chgData name="Aurelien Domont" userId="6da7715ce44349b3" providerId="LiveId" clId="{1F031B4F-7A08-47B6-9BBE-3BE595172CA2}" dt="2023-02-16T00:03:27.451" v="1573" actId="47"/>
        <pc:sldMkLst>
          <pc:docMk/>
          <pc:sldMk cId="2996246470" sldId="2859"/>
        </pc:sldMkLst>
      </pc:sldChg>
      <pc:sldChg chg="add del">
        <pc:chgData name="Aurelien Domont" userId="6da7715ce44349b3" providerId="LiveId" clId="{1F031B4F-7A08-47B6-9BBE-3BE595172CA2}" dt="2023-02-16T00:03:45.310" v="1578" actId="47"/>
        <pc:sldMkLst>
          <pc:docMk/>
          <pc:sldMk cId="2129078642" sldId="2860"/>
        </pc:sldMkLst>
      </pc:sldChg>
      <pc:sldChg chg="add del">
        <pc:chgData name="Aurelien Domont" userId="6da7715ce44349b3" providerId="LiveId" clId="{1F031B4F-7A08-47B6-9BBE-3BE595172CA2}" dt="2023-02-16T00:03:53.952" v="1581" actId="47"/>
        <pc:sldMkLst>
          <pc:docMk/>
          <pc:sldMk cId="858972833" sldId="2861"/>
        </pc:sldMkLst>
      </pc:sldChg>
      <pc:sldChg chg="add del">
        <pc:chgData name="Aurelien Domont" userId="6da7715ce44349b3" providerId="LiveId" clId="{1F031B4F-7A08-47B6-9BBE-3BE595172CA2}" dt="2023-02-16T00:04:05.702" v="1584" actId="47"/>
        <pc:sldMkLst>
          <pc:docMk/>
          <pc:sldMk cId="368543182" sldId="2862"/>
        </pc:sldMkLst>
      </pc:sldChg>
      <pc:sldChg chg="add del">
        <pc:chgData name="Aurelien Domont" userId="6da7715ce44349b3" providerId="LiveId" clId="{1F031B4F-7A08-47B6-9BBE-3BE595172CA2}" dt="2023-02-16T00:04:27.562" v="1587" actId="47"/>
        <pc:sldMkLst>
          <pc:docMk/>
          <pc:sldMk cId="1533410956" sldId="2863"/>
        </pc:sldMkLst>
      </pc:sldChg>
      <pc:sldChg chg="add del">
        <pc:chgData name="Aurelien Domont" userId="6da7715ce44349b3" providerId="LiveId" clId="{1F031B4F-7A08-47B6-9BBE-3BE595172CA2}" dt="2023-02-16T00:04:42.762" v="1590" actId="47"/>
        <pc:sldMkLst>
          <pc:docMk/>
          <pc:sldMk cId="549618535" sldId="2864"/>
        </pc:sldMkLst>
      </pc:sldChg>
      <pc:sldChg chg="modSp add mod">
        <pc:chgData name="Aurelien Domont" userId="6da7715ce44349b3" providerId="LiveId" clId="{1F031B4F-7A08-47B6-9BBE-3BE595172CA2}" dt="2023-02-15T23:44:32.923" v="1384" actId="207"/>
        <pc:sldMkLst>
          <pc:docMk/>
          <pc:sldMk cId="1640665180" sldId="2865"/>
        </pc:sldMkLst>
        <pc:spChg chg="mod">
          <ac:chgData name="Aurelien Domont" userId="6da7715ce44349b3" providerId="LiveId" clId="{1F031B4F-7A08-47B6-9BBE-3BE595172CA2}" dt="2023-02-15T23:44:32.923" v="1384" actId="207"/>
          <ac:spMkLst>
            <pc:docMk/>
            <pc:sldMk cId="1640665180" sldId="2865"/>
            <ac:spMk id="14" creationId="{85DB7984-08ED-9AB7-9778-BAC9EF667E17}"/>
          </ac:spMkLst>
        </pc:spChg>
      </pc:sldChg>
      <pc:sldChg chg="add del">
        <pc:chgData name="Aurelien Domont" userId="6da7715ce44349b3" providerId="LiveId" clId="{1F031B4F-7A08-47B6-9BBE-3BE595172CA2}" dt="2023-02-15T23:44:19.081" v="1381"/>
        <pc:sldMkLst>
          <pc:docMk/>
          <pc:sldMk cId="3602322078" sldId="2865"/>
        </pc:sldMkLst>
      </pc:sldChg>
      <pc:sldChg chg="modSp add mod">
        <pc:chgData name="Aurelien Domont" userId="6da7715ce44349b3" providerId="LiveId" clId="{1F031B4F-7A08-47B6-9BBE-3BE595172CA2}" dt="2023-02-15T23:45:28.564" v="1389" actId="207"/>
        <pc:sldMkLst>
          <pc:docMk/>
          <pc:sldMk cId="3101696240" sldId="2866"/>
        </pc:sldMkLst>
        <pc:spChg chg="mod">
          <ac:chgData name="Aurelien Domont" userId="6da7715ce44349b3" providerId="LiveId" clId="{1F031B4F-7A08-47B6-9BBE-3BE595172CA2}" dt="2023-02-15T23:45:28.564" v="1389" actId="207"/>
          <ac:spMkLst>
            <pc:docMk/>
            <pc:sldMk cId="3101696240" sldId="2866"/>
            <ac:spMk id="14" creationId="{85DB7984-08ED-9AB7-9778-BAC9EF667E17}"/>
          </ac:spMkLst>
        </pc:spChg>
      </pc:sldChg>
      <pc:sldChg chg="add del">
        <pc:chgData name="Aurelien Domont" userId="6da7715ce44349b3" providerId="LiveId" clId="{1F031B4F-7A08-47B6-9BBE-3BE595172CA2}" dt="2023-02-15T23:46:34.282" v="1398"/>
        <pc:sldMkLst>
          <pc:docMk/>
          <pc:sldMk cId="966605843" sldId="2867"/>
        </pc:sldMkLst>
      </pc:sldChg>
      <pc:sldChg chg="modSp add mod">
        <pc:chgData name="Aurelien Domont" userId="6da7715ce44349b3" providerId="LiveId" clId="{1F031B4F-7A08-47B6-9BBE-3BE595172CA2}" dt="2023-02-15T23:46:53.486" v="1403" actId="207"/>
        <pc:sldMkLst>
          <pc:docMk/>
          <pc:sldMk cId="2562879692" sldId="2867"/>
        </pc:sldMkLst>
        <pc:spChg chg="mod">
          <ac:chgData name="Aurelien Domont" userId="6da7715ce44349b3" providerId="LiveId" clId="{1F031B4F-7A08-47B6-9BBE-3BE595172CA2}" dt="2023-02-15T23:46:53.486" v="1403" actId="207"/>
          <ac:spMkLst>
            <pc:docMk/>
            <pc:sldMk cId="2562879692" sldId="2867"/>
            <ac:spMk id="14" creationId="{85DB7984-08ED-9AB7-9778-BAC9EF667E17}"/>
          </ac:spMkLst>
        </pc:spChg>
      </pc:sldChg>
      <pc:sldChg chg="add del">
        <pc:chgData name="Aurelien Domont" userId="6da7715ce44349b3" providerId="LiveId" clId="{1F031B4F-7A08-47B6-9BBE-3BE595172CA2}" dt="2023-02-15T23:47:17.949" v="1409" actId="47"/>
        <pc:sldMkLst>
          <pc:docMk/>
          <pc:sldMk cId="3344383452" sldId="2868"/>
        </pc:sldMkLst>
      </pc:sldChg>
      <pc:sldChg chg="modSp add mod">
        <pc:chgData name="Aurelien Domont" userId="6da7715ce44349b3" providerId="LiveId" clId="{1F031B4F-7A08-47B6-9BBE-3BE595172CA2}" dt="2023-02-15T23:47:28.497" v="1411" actId="207"/>
        <pc:sldMkLst>
          <pc:docMk/>
          <pc:sldMk cId="366600172" sldId="2869"/>
        </pc:sldMkLst>
        <pc:spChg chg="mod">
          <ac:chgData name="Aurelien Domont" userId="6da7715ce44349b3" providerId="LiveId" clId="{1F031B4F-7A08-47B6-9BBE-3BE595172CA2}" dt="2023-02-15T23:47:28.497" v="1411" actId="207"/>
          <ac:spMkLst>
            <pc:docMk/>
            <pc:sldMk cId="366600172" sldId="2869"/>
            <ac:spMk id="14" creationId="{85DB7984-08ED-9AB7-9778-BAC9EF667E17}"/>
          </ac:spMkLst>
        </pc:spChg>
      </pc:sldChg>
      <pc:sldChg chg="add del">
        <pc:chgData name="Aurelien Domont" userId="6da7715ce44349b3" providerId="LiveId" clId="{1F031B4F-7A08-47B6-9BBE-3BE595172CA2}" dt="2023-02-15T23:47:15.802" v="1407"/>
        <pc:sldMkLst>
          <pc:docMk/>
          <pc:sldMk cId="2595037430" sldId="2869"/>
        </pc:sldMkLst>
      </pc:sldChg>
      <pc:sldChg chg="modSp add mod">
        <pc:chgData name="Aurelien Domont" userId="6da7715ce44349b3" providerId="LiveId" clId="{1F031B4F-7A08-47B6-9BBE-3BE595172CA2}" dt="2023-02-15T23:47:57.658" v="1417" actId="207"/>
        <pc:sldMkLst>
          <pc:docMk/>
          <pc:sldMk cId="3610873108" sldId="2870"/>
        </pc:sldMkLst>
        <pc:spChg chg="mod">
          <ac:chgData name="Aurelien Domont" userId="6da7715ce44349b3" providerId="LiveId" clId="{1F031B4F-7A08-47B6-9BBE-3BE595172CA2}" dt="2023-02-15T23:47:57.658" v="1417" actId="207"/>
          <ac:spMkLst>
            <pc:docMk/>
            <pc:sldMk cId="3610873108" sldId="2870"/>
            <ac:spMk id="14" creationId="{85DB7984-08ED-9AB7-9778-BAC9EF667E17}"/>
          </ac:spMkLst>
        </pc:spChg>
      </pc:sldChg>
      <pc:sldChg chg="modSp add mod">
        <pc:chgData name="Aurelien Domont" userId="6da7715ce44349b3" providerId="LiveId" clId="{1F031B4F-7A08-47B6-9BBE-3BE595172CA2}" dt="2023-02-15T23:50:51.771" v="1429" actId="207"/>
        <pc:sldMkLst>
          <pc:docMk/>
          <pc:sldMk cId="2534788747" sldId="2871"/>
        </pc:sldMkLst>
        <pc:spChg chg="mod">
          <ac:chgData name="Aurelien Domont" userId="6da7715ce44349b3" providerId="LiveId" clId="{1F031B4F-7A08-47B6-9BBE-3BE595172CA2}" dt="2023-02-15T23:50:51.771" v="1429" actId="207"/>
          <ac:spMkLst>
            <pc:docMk/>
            <pc:sldMk cId="2534788747" sldId="2871"/>
            <ac:spMk id="8" creationId="{72A52A59-2B0C-B438-B79F-EAD1EBFD5A88}"/>
          </ac:spMkLst>
        </pc:spChg>
      </pc:sldChg>
      <pc:sldChg chg="modSp add mod">
        <pc:chgData name="Aurelien Domont" userId="6da7715ce44349b3" providerId="LiveId" clId="{1F031B4F-7A08-47B6-9BBE-3BE595172CA2}" dt="2023-02-15T23:51:02.225" v="1432" actId="207"/>
        <pc:sldMkLst>
          <pc:docMk/>
          <pc:sldMk cId="770456769" sldId="2872"/>
        </pc:sldMkLst>
        <pc:spChg chg="mod">
          <ac:chgData name="Aurelien Domont" userId="6da7715ce44349b3" providerId="LiveId" clId="{1F031B4F-7A08-47B6-9BBE-3BE595172CA2}" dt="2023-02-15T23:51:02.225" v="1432" actId="207"/>
          <ac:spMkLst>
            <pc:docMk/>
            <pc:sldMk cId="770456769" sldId="2872"/>
            <ac:spMk id="8" creationId="{72A52A59-2B0C-B438-B79F-EAD1EBFD5A88}"/>
          </ac:spMkLst>
        </pc:spChg>
      </pc:sldChg>
      <pc:sldChg chg="addSp delSp modSp add mod">
        <pc:chgData name="Aurelien Domont" userId="6da7715ce44349b3" providerId="LiveId" clId="{1F031B4F-7A08-47B6-9BBE-3BE595172CA2}" dt="2023-02-15T23:58:00.669" v="1529"/>
        <pc:sldMkLst>
          <pc:docMk/>
          <pc:sldMk cId="2841726167" sldId="2873"/>
        </pc:sldMkLst>
        <pc:spChg chg="add mod">
          <ac:chgData name="Aurelien Domont" userId="6da7715ce44349b3" providerId="LiveId" clId="{1F031B4F-7A08-47B6-9BBE-3BE595172CA2}" dt="2023-02-15T23:58:00.669" v="1529"/>
          <ac:spMkLst>
            <pc:docMk/>
            <pc:sldMk cId="2841726167" sldId="2873"/>
            <ac:spMk id="2" creationId="{C0110D5F-3357-FFE7-D9F1-53A0EACE1229}"/>
          </ac:spMkLst>
        </pc:spChg>
        <pc:spChg chg="del">
          <ac:chgData name="Aurelien Domont" userId="6da7715ce44349b3" providerId="LiveId" clId="{1F031B4F-7A08-47B6-9BBE-3BE595172CA2}" dt="2023-02-15T23:58:00.402" v="1528" actId="478"/>
          <ac:spMkLst>
            <pc:docMk/>
            <pc:sldMk cId="2841726167" sldId="2873"/>
            <ac:spMk id="3" creationId="{CE2529A3-BA97-486F-9E02-8DFAAA7D8D38}"/>
          </ac:spMkLst>
        </pc:spChg>
        <pc:spChg chg="del">
          <ac:chgData name="Aurelien Domont" userId="6da7715ce44349b3" providerId="LiveId" clId="{1F031B4F-7A08-47B6-9BBE-3BE595172CA2}" dt="2023-02-15T23:57:16.383" v="1520" actId="478"/>
          <ac:spMkLst>
            <pc:docMk/>
            <pc:sldMk cId="2841726167" sldId="2873"/>
            <ac:spMk id="5" creationId="{F232B936-E17D-04E4-26FC-01EC4EE603D1}"/>
          </ac:spMkLst>
        </pc:spChg>
        <pc:spChg chg="mod">
          <ac:chgData name="Aurelien Domont" userId="6da7715ce44349b3" providerId="LiveId" clId="{1F031B4F-7A08-47B6-9BBE-3BE595172CA2}" dt="2023-02-15T23:57:37.364" v="1525" actId="403"/>
          <ac:spMkLst>
            <pc:docMk/>
            <pc:sldMk cId="2841726167" sldId="2873"/>
            <ac:spMk id="7" creationId="{403A8A29-9476-22BB-178D-9E13D8B502E1}"/>
          </ac:spMkLst>
        </pc:spChg>
        <pc:spChg chg="del">
          <ac:chgData name="Aurelien Domont" userId="6da7715ce44349b3" providerId="LiveId" clId="{1F031B4F-7A08-47B6-9BBE-3BE595172CA2}" dt="2023-02-15T23:57:16.383" v="1520" actId="478"/>
          <ac:spMkLst>
            <pc:docMk/>
            <pc:sldMk cId="2841726167" sldId="2873"/>
            <ac:spMk id="8" creationId="{45019213-D1BE-107E-2F5F-9B4585FDEEB0}"/>
          </ac:spMkLst>
        </pc:spChg>
        <pc:spChg chg="del">
          <ac:chgData name="Aurelien Domont" userId="6da7715ce44349b3" providerId="LiveId" clId="{1F031B4F-7A08-47B6-9BBE-3BE595172CA2}" dt="2023-02-15T23:57:23.166" v="1522" actId="478"/>
          <ac:spMkLst>
            <pc:docMk/>
            <pc:sldMk cId="2841726167" sldId="2873"/>
            <ac:spMk id="10" creationId="{BD32D625-76AC-03ED-AEF1-F443696032C5}"/>
          </ac:spMkLst>
        </pc:spChg>
        <pc:spChg chg="mod">
          <ac:chgData name="Aurelien Domont" userId="6da7715ce44349b3" providerId="LiveId" clId="{1F031B4F-7A08-47B6-9BBE-3BE595172CA2}" dt="2023-02-15T23:56:28.540" v="1513" actId="20577"/>
          <ac:spMkLst>
            <pc:docMk/>
            <pc:sldMk cId="2841726167" sldId="2873"/>
            <ac:spMk id="16" creationId="{6C2BB713-9637-4B9B-938F-E9768876782A}"/>
          </ac:spMkLst>
        </pc:spChg>
        <pc:grpChg chg="del">
          <ac:chgData name="Aurelien Domont" userId="6da7715ce44349b3" providerId="LiveId" clId="{1F031B4F-7A08-47B6-9BBE-3BE595172CA2}" dt="2023-02-15T23:57:16.383" v="1520" actId="478"/>
          <ac:grpSpMkLst>
            <pc:docMk/>
            <pc:sldMk cId="2841726167" sldId="2873"/>
            <ac:grpSpMk id="19" creationId="{85468F65-C184-8A3A-0CDD-6F0541764740}"/>
          </ac:grpSpMkLst>
        </pc:grpChg>
      </pc:sldChg>
      <pc:sldChg chg="modSp add mod">
        <pc:chgData name="Aurelien Domont" userId="6da7715ce44349b3" providerId="LiveId" clId="{1F031B4F-7A08-47B6-9BBE-3BE595172CA2}" dt="2023-02-16T00:02:57.494" v="1569" actId="207"/>
        <pc:sldMkLst>
          <pc:docMk/>
          <pc:sldMk cId="958942344" sldId="2874"/>
        </pc:sldMkLst>
        <pc:spChg chg="mod">
          <ac:chgData name="Aurelien Domont" userId="6da7715ce44349b3" providerId="LiveId" clId="{1F031B4F-7A08-47B6-9BBE-3BE595172CA2}" dt="2023-02-16T00:02:57.494" v="1569" actId="207"/>
          <ac:spMkLst>
            <pc:docMk/>
            <pc:sldMk cId="958942344" sldId="2874"/>
            <ac:spMk id="29" creationId="{8F984EF8-19B2-4B5E-98EC-433CCE26E2A7}"/>
          </ac:spMkLst>
        </pc:spChg>
      </pc:sldChg>
      <pc:sldChg chg="modSp add mod">
        <pc:chgData name="Aurelien Domont" userId="6da7715ce44349b3" providerId="LiveId" clId="{1F031B4F-7A08-47B6-9BBE-3BE595172CA2}" dt="2023-02-16T00:03:32.232" v="1574" actId="207"/>
        <pc:sldMkLst>
          <pc:docMk/>
          <pc:sldMk cId="2400123803" sldId="2875"/>
        </pc:sldMkLst>
        <pc:spChg chg="mod">
          <ac:chgData name="Aurelien Domont" userId="6da7715ce44349b3" providerId="LiveId" clId="{1F031B4F-7A08-47B6-9BBE-3BE595172CA2}" dt="2023-02-16T00:03:32.232" v="1574" actId="207"/>
          <ac:spMkLst>
            <pc:docMk/>
            <pc:sldMk cId="2400123803" sldId="2875"/>
            <ac:spMk id="29" creationId="{8F984EF8-19B2-4B5E-98EC-433CCE26E2A7}"/>
          </ac:spMkLst>
        </pc:spChg>
      </pc:sldChg>
      <pc:sldChg chg="modSp add mod">
        <pc:chgData name="Aurelien Domont" userId="6da7715ce44349b3" providerId="LiveId" clId="{1F031B4F-7A08-47B6-9BBE-3BE595172CA2}" dt="2023-02-16T00:03:49.654" v="1579" actId="207"/>
        <pc:sldMkLst>
          <pc:docMk/>
          <pc:sldMk cId="1390132971" sldId="2876"/>
        </pc:sldMkLst>
        <pc:spChg chg="mod">
          <ac:chgData name="Aurelien Domont" userId="6da7715ce44349b3" providerId="LiveId" clId="{1F031B4F-7A08-47B6-9BBE-3BE595172CA2}" dt="2023-02-16T00:03:49.654" v="1579" actId="207"/>
          <ac:spMkLst>
            <pc:docMk/>
            <pc:sldMk cId="1390132971" sldId="2876"/>
            <ac:spMk id="29" creationId="{8F984EF8-19B2-4B5E-98EC-433CCE26E2A7}"/>
          </ac:spMkLst>
        </pc:spChg>
      </pc:sldChg>
      <pc:sldChg chg="modSp add mod">
        <pc:chgData name="Aurelien Domont" userId="6da7715ce44349b3" providerId="LiveId" clId="{1F031B4F-7A08-47B6-9BBE-3BE595172CA2}" dt="2023-02-16T00:03:58.956" v="1582" actId="207"/>
        <pc:sldMkLst>
          <pc:docMk/>
          <pc:sldMk cId="3056090743" sldId="2877"/>
        </pc:sldMkLst>
        <pc:spChg chg="mod">
          <ac:chgData name="Aurelien Domont" userId="6da7715ce44349b3" providerId="LiveId" clId="{1F031B4F-7A08-47B6-9BBE-3BE595172CA2}" dt="2023-02-16T00:03:58.956" v="1582" actId="207"/>
          <ac:spMkLst>
            <pc:docMk/>
            <pc:sldMk cId="3056090743" sldId="2877"/>
            <ac:spMk id="29" creationId="{8F984EF8-19B2-4B5E-98EC-433CCE26E2A7}"/>
          </ac:spMkLst>
        </pc:spChg>
      </pc:sldChg>
      <pc:sldChg chg="modSp add mod">
        <pc:chgData name="Aurelien Domont" userId="6da7715ce44349b3" providerId="LiveId" clId="{1F031B4F-7A08-47B6-9BBE-3BE595172CA2}" dt="2023-02-16T00:04:20.646" v="1585" actId="207"/>
        <pc:sldMkLst>
          <pc:docMk/>
          <pc:sldMk cId="3184558705" sldId="2878"/>
        </pc:sldMkLst>
        <pc:spChg chg="mod">
          <ac:chgData name="Aurelien Domont" userId="6da7715ce44349b3" providerId="LiveId" clId="{1F031B4F-7A08-47B6-9BBE-3BE595172CA2}" dt="2023-02-16T00:04:20.646" v="1585" actId="207"/>
          <ac:spMkLst>
            <pc:docMk/>
            <pc:sldMk cId="3184558705" sldId="2878"/>
            <ac:spMk id="29" creationId="{8F984EF8-19B2-4B5E-98EC-433CCE26E2A7}"/>
          </ac:spMkLst>
        </pc:spChg>
      </pc:sldChg>
      <pc:sldChg chg="modSp add mod">
        <pc:chgData name="Aurelien Domont" userId="6da7715ce44349b3" providerId="LiveId" clId="{1F031B4F-7A08-47B6-9BBE-3BE595172CA2}" dt="2023-02-16T00:04:36.176" v="1588" actId="207"/>
        <pc:sldMkLst>
          <pc:docMk/>
          <pc:sldMk cId="988595457" sldId="2879"/>
        </pc:sldMkLst>
        <pc:spChg chg="mod">
          <ac:chgData name="Aurelien Domont" userId="6da7715ce44349b3" providerId="LiveId" clId="{1F031B4F-7A08-47B6-9BBE-3BE595172CA2}" dt="2023-02-16T00:04:36.176" v="1588" actId="207"/>
          <ac:spMkLst>
            <pc:docMk/>
            <pc:sldMk cId="988595457" sldId="2879"/>
            <ac:spMk id="29" creationId="{8F984EF8-19B2-4B5E-98EC-433CCE26E2A7}"/>
          </ac:spMkLst>
        </pc:spChg>
      </pc:sldChg>
      <pc:sldChg chg="modSp add mod">
        <pc:chgData name="Aurelien Domont" userId="6da7715ce44349b3" providerId="LiveId" clId="{1F031B4F-7A08-47B6-9BBE-3BE595172CA2}" dt="2023-02-16T00:04:48.233" v="1591" actId="207"/>
        <pc:sldMkLst>
          <pc:docMk/>
          <pc:sldMk cId="357216409" sldId="2880"/>
        </pc:sldMkLst>
        <pc:spChg chg="mod">
          <ac:chgData name="Aurelien Domont" userId="6da7715ce44349b3" providerId="LiveId" clId="{1F031B4F-7A08-47B6-9BBE-3BE595172CA2}" dt="2023-02-16T00:04:48.233" v="1591" actId="207"/>
          <ac:spMkLst>
            <pc:docMk/>
            <pc:sldMk cId="357216409" sldId="2880"/>
            <ac:spMk id="29" creationId="{8F984EF8-19B2-4B5E-98EC-433CCE26E2A7}"/>
          </ac:spMkLst>
        </pc:spChg>
      </pc:sldChg>
      <pc:sldChg chg="modSp add mod">
        <pc:chgData name="Aurelien Domont" userId="6da7715ce44349b3" providerId="LiveId" clId="{1F031B4F-7A08-47B6-9BBE-3BE595172CA2}" dt="2023-02-16T00:05:00.567" v="1594" actId="207"/>
        <pc:sldMkLst>
          <pc:docMk/>
          <pc:sldMk cId="3511227816" sldId="2881"/>
        </pc:sldMkLst>
        <pc:spChg chg="mod">
          <ac:chgData name="Aurelien Domont" userId="6da7715ce44349b3" providerId="LiveId" clId="{1F031B4F-7A08-47B6-9BBE-3BE595172CA2}" dt="2023-02-16T00:05:00.567" v="1594" actId="207"/>
          <ac:spMkLst>
            <pc:docMk/>
            <pc:sldMk cId="3511227816" sldId="2881"/>
            <ac:spMk id="29" creationId="{8F984EF8-19B2-4B5E-98EC-433CCE26E2A7}"/>
          </ac:spMkLst>
        </pc:spChg>
      </pc:sldChg>
      <pc:sldChg chg="modSp add mod">
        <pc:chgData name="Aurelien Domont" userId="6da7715ce44349b3" providerId="LiveId" clId="{1F031B4F-7A08-47B6-9BBE-3BE595172CA2}" dt="2023-02-16T00:17:59.930" v="1767" actId="20577"/>
        <pc:sldMkLst>
          <pc:docMk/>
          <pc:sldMk cId="1280474636" sldId="2882"/>
        </pc:sldMkLst>
        <pc:spChg chg="mod">
          <ac:chgData name="Aurelien Domont" userId="6da7715ce44349b3" providerId="LiveId" clId="{1F031B4F-7A08-47B6-9BBE-3BE595172CA2}" dt="2023-02-16T00:17:59.930" v="1767" actId="20577"/>
          <ac:spMkLst>
            <pc:docMk/>
            <pc:sldMk cId="1280474636" sldId="2882"/>
            <ac:spMk id="16" creationId="{6C2BB713-9637-4B9B-938F-E9768876782A}"/>
          </ac:spMkLst>
        </pc:spChg>
      </pc:sldChg>
      <pc:sldChg chg="modSp add mod">
        <pc:chgData name="Aurelien Domont" userId="6da7715ce44349b3" providerId="LiveId" clId="{1F031B4F-7A08-47B6-9BBE-3BE595172CA2}" dt="2023-02-16T00:12:53.545" v="1707" actId="1036"/>
        <pc:sldMkLst>
          <pc:docMk/>
          <pc:sldMk cId="370860101" sldId="2883"/>
        </pc:sldMkLst>
        <pc:spChg chg="mod">
          <ac:chgData name="Aurelien Domont" userId="6da7715ce44349b3" providerId="LiveId" clId="{1F031B4F-7A08-47B6-9BBE-3BE595172CA2}" dt="2023-02-16T00:12:09.892" v="1702" actId="20577"/>
          <ac:spMkLst>
            <pc:docMk/>
            <pc:sldMk cId="370860101" sldId="2883"/>
            <ac:spMk id="16" creationId="{6C2BB713-9637-4B9B-938F-E9768876782A}"/>
          </ac:spMkLst>
        </pc:spChg>
        <pc:spChg chg="mod">
          <ac:chgData name="Aurelien Domont" userId="6da7715ce44349b3" providerId="LiveId" clId="{1F031B4F-7A08-47B6-9BBE-3BE595172CA2}" dt="2023-02-16T00:12:53.545" v="1707" actId="1036"/>
          <ac:spMkLst>
            <pc:docMk/>
            <pc:sldMk cId="370860101" sldId="2883"/>
            <ac:spMk id="27" creationId="{AC8B7369-7E6F-43E6-96D5-9FE68700ADE3}"/>
          </ac:spMkLst>
        </pc:spChg>
      </pc:sldChg>
      <pc:sldChg chg="addSp delSp modSp add mod">
        <pc:chgData name="Aurelien Domont" userId="6da7715ce44349b3" providerId="LiveId" clId="{1F031B4F-7A08-47B6-9BBE-3BE595172CA2}" dt="2023-02-16T02:21:02.549" v="3076" actId="20577"/>
        <pc:sldMkLst>
          <pc:docMk/>
          <pc:sldMk cId="481449207" sldId="2884"/>
        </pc:sldMkLst>
        <pc:spChg chg="mod">
          <ac:chgData name="Aurelien Domont" userId="6da7715ce44349b3" providerId="LiveId" clId="{1F031B4F-7A08-47B6-9BBE-3BE595172CA2}" dt="2023-02-16T02:21:02.549" v="3076" actId="20577"/>
          <ac:spMkLst>
            <pc:docMk/>
            <pc:sldMk cId="481449207" sldId="2884"/>
            <ac:spMk id="2" creationId="{406113FD-AA7D-4249-90D7-70AF85BE48E1}"/>
          </ac:spMkLst>
        </pc:spChg>
        <pc:spChg chg="del">
          <ac:chgData name="Aurelien Domont" userId="6da7715ce44349b3" providerId="LiveId" clId="{1F031B4F-7A08-47B6-9BBE-3BE595172CA2}" dt="2023-02-16T01:49:42.979" v="2104" actId="478"/>
          <ac:spMkLst>
            <pc:docMk/>
            <pc:sldMk cId="481449207" sldId="2884"/>
            <ac:spMk id="6" creationId="{8C9E1E9F-B6D1-4C9B-89F6-850F0CD08945}"/>
          </ac:spMkLst>
        </pc:spChg>
        <pc:spChg chg="add del mod">
          <ac:chgData name="Aurelien Domont" userId="6da7715ce44349b3" providerId="LiveId" clId="{1F031B4F-7A08-47B6-9BBE-3BE595172CA2}" dt="2023-02-16T01:55:35.996" v="2339" actId="478"/>
          <ac:spMkLst>
            <pc:docMk/>
            <pc:sldMk cId="481449207" sldId="2884"/>
            <ac:spMk id="7" creationId="{8BD1164A-4146-460F-492C-3A7CE8BE6E75}"/>
          </ac:spMkLst>
        </pc:spChg>
        <pc:spChg chg="del">
          <ac:chgData name="Aurelien Domont" userId="6da7715ce44349b3" providerId="LiveId" clId="{1F031B4F-7A08-47B6-9BBE-3BE595172CA2}" dt="2023-02-16T01:49:34.107" v="2103" actId="478"/>
          <ac:spMkLst>
            <pc:docMk/>
            <pc:sldMk cId="481449207" sldId="2884"/>
            <ac:spMk id="8" creationId="{F601F365-36FE-43BA-A063-30AAF326381A}"/>
          </ac:spMkLst>
        </pc:spChg>
        <pc:spChg chg="del">
          <ac:chgData name="Aurelien Domont" userId="6da7715ce44349b3" providerId="LiveId" clId="{1F031B4F-7A08-47B6-9BBE-3BE595172CA2}" dt="2023-02-16T01:49:53.414" v="2127" actId="478"/>
          <ac:spMkLst>
            <pc:docMk/>
            <pc:sldMk cId="481449207" sldId="2884"/>
            <ac:spMk id="9" creationId="{12B01F11-E54D-4AB1-A9A7-59F137CC9151}"/>
          </ac:spMkLst>
        </pc:spChg>
        <pc:spChg chg="add del mod">
          <ac:chgData name="Aurelien Domont" userId="6da7715ce44349b3" providerId="LiveId" clId="{1F031B4F-7A08-47B6-9BBE-3BE595172CA2}" dt="2023-02-16T01:55:35.996" v="2339" actId="478"/>
          <ac:spMkLst>
            <pc:docMk/>
            <pc:sldMk cId="481449207" sldId="2884"/>
            <ac:spMk id="10" creationId="{0DDB4F94-7104-E630-9AC1-D4E04F44F940}"/>
          </ac:spMkLst>
        </pc:spChg>
        <pc:spChg chg="del">
          <ac:chgData name="Aurelien Domont" userId="6da7715ce44349b3" providerId="LiveId" clId="{1F031B4F-7A08-47B6-9BBE-3BE595172CA2}" dt="2023-02-16T01:49:34.107" v="2103" actId="478"/>
          <ac:spMkLst>
            <pc:docMk/>
            <pc:sldMk cId="481449207" sldId="2884"/>
            <ac:spMk id="11" creationId="{396683CE-C2F6-4990-BA65-5E87ED73768C}"/>
          </ac:spMkLst>
        </pc:spChg>
        <pc:spChg chg="del">
          <ac:chgData name="Aurelien Domont" userId="6da7715ce44349b3" providerId="LiveId" clId="{1F031B4F-7A08-47B6-9BBE-3BE595172CA2}" dt="2023-02-16T01:49:34.107" v="2103" actId="478"/>
          <ac:spMkLst>
            <pc:docMk/>
            <pc:sldMk cId="481449207" sldId="2884"/>
            <ac:spMk id="12" creationId="{81F2281D-E4F7-4810-BF24-5FBB0FC1DE84}"/>
          </ac:spMkLst>
        </pc:spChg>
        <pc:spChg chg="add del mod">
          <ac:chgData name="Aurelien Domont" userId="6da7715ce44349b3" providerId="LiveId" clId="{1F031B4F-7A08-47B6-9BBE-3BE595172CA2}" dt="2023-02-16T01:55:35.996" v="2339" actId="478"/>
          <ac:spMkLst>
            <pc:docMk/>
            <pc:sldMk cId="481449207" sldId="2884"/>
            <ac:spMk id="13" creationId="{1B350551-BA2E-0E54-5E17-7F01CD05B0F4}"/>
          </ac:spMkLst>
        </pc:spChg>
        <pc:spChg chg="add del mod">
          <ac:chgData name="Aurelien Domont" userId="6da7715ce44349b3" providerId="LiveId" clId="{1F031B4F-7A08-47B6-9BBE-3BE595172CA2}" dt="2023-02-16T01:55:35.996" v="2339" actId="478"/>
          <ac:spMkLst>
            <pc:docMk/>
            <pc:sldMk cId="481449207" sldId="2884"/>
            <ac:spMk id="14" creationId="{A284CA92-F6DA-DD8E-297D-CC8064F8DD81}"/>
          </ac:spMkLst>
        </pc:spChg>
        <pc:spChg chg="add del mod">
          <ac:chgData name="Aurelien Domont" userId="6da7715ce44349b3" providerId="LiveId" clId="{1F031B4F-7A08-47B6-9BBE-3BE595172CA2}" dt="2023-02-16T01:55:35.996" v="2339" actId="478"/>
          <ac:spMkLst>
            <pc:docMk/>
            <pc:sldMk cId="481449207" sldId="2884"/>
            <ac:spMk id="15" creationId="{219EDE03-6C45-0B45-5A5B-1B1C2D360081}"/>
          </ac:spMkLst>
        </pc:spChg>
        <pc:spChg chg="add del mod">
          <ac:chgData name="Aurelien Domont" userId="6da7715ce44349b3" providerId="LiveId" clId="{1F031B4F-7A08-47B6-9BBE-3BE595172CA2}" dt="2023-02-16T02:01:48.954" v="2511" actId="478"/>
          <ac:spMkLst>
            <pc:docMk/>
            <pc:sldMk cId="481449207" sldId="2884"/>
            <ac:spMk id="16" creationId="{ED735AD6-503B-38A5-643E-51C37EA6EB3B}"/>
          </ac:spMkLst>
        </pc:spChg>
        <pc:spChg chg="add del mod">
          <ac:chgData name="Aurelien Domont" userId="6da7715ce44349b3" providerId="LiveId" clId="{1F031B4F-7A08-47B6-9BBE-3BE595172CA2}" dt="2023-02-16T02:01:48.954" v="2511" actId="478"/>
          <ac:spMkLst>
            <pc:docMk/>
            <pc:sldMk cId="481449207" sldId="2884"/>
            <ac:spMk id="17" creationId="{F1D81D0A-FE0C-6BBA-221F-785657AB9706}"/>
          </ac:spMkLst>
        </pc:spChg>
        <pc:spChg chg="add del mod">
          <ac:chgData name="Aurelien Domont" userId="6da7715ce44349b3" providerId="LiveId" clId="{1F031B4F-7A08-47B6-9BBE-3BE595172CA2}" dt="2023-02-16T02:01:48.954" v="2511" actId="478"/>
          <ac:spMkLst>
            <pc:docMk/>
            <pc:sldMk cId="481449207" sldId="2884"/>
            <ac:spMk id="18" creationId="{800B3993-DC18-0482-89F1-F1008A2A5CC9}"/>
          </ac:spMkLst>
        </pc:spChg>
        <pc:spChg chg="add del mod">
          <ac:chgData name="Aurelien Domont" userId="6da7715ce44349b3" providerId="LiveId" clId="{1F031B4F-7A08-47B6-9BBE-3BE595172CA2}" dt="2023-02-16T02:01:48.954" v="2511" actId="478"/>
          <ac:spMkLst>
            <pc:docMk/>
            <pc:sldMk cId="481449207" sldId="2884"/>
            <ac:spMk id="19" creationId="{25B4D1A0-556F-9403-8ADE-9F493B15A0B9}"/>
          </ac:spMkLst>
        </pc:spChg>
        <pc:spChg chg="add del mod">
          <ac:chgData name="Aurelien Domont" userId="6da7715ce44349b3" providerId="LiveId" clId="{1F031B4F-7A08-47B6-9BBE-3BE595172CA2}" dt="2023-02-16T02:01:48.954" v="2511" actId="478"/>
          <ac:spMkLst>
            <pc:docMk/>
            <pc:sldMk cId="481449207" sldId="2884"/>
            <ac:spMk id="20" creationId="{93D86005-4A9A-2722-7166-8E9CA0814BCD}"/>
          </ac:spMkLst>
        </pc:spChg>
        <pc:spChg chg="add del mod">
          <ac:chgData name="Aurelien Domont" userId="6da7715ce44349b3" providerId="LiveId" clId="{1F031B4F-7A08-47B6-9BBE-3BE595172CA2}" dt="2023-02-16T02:03:47.728" v="2585" actId="478"/>
          <ac:spMkLst>
            <pc:docMk/>
            <pc:sldMk cId="481449207" sldId="2884"/>
            <ac:spMk id="21" creationId="{7CD0C5B7-C64F-3AA4-F8E4-8C693035BA6D}"/>
          </ac:spMkLst>
        </pc:spChg>
        <pc:spChg chg="add del mod">
          <ac:chgData name="Aurelien Domont" userId="6da7715ce44349b3" providerId="LiveId" clId="{1F031B4F-7A08-47B6-9BBE-3BE595172CA2}" dt="2023-02-16T02:05:51.368" v="2664" actId="478"/>
          <ac:spMkLst>
            <pc:docMk/>
            <pc:sldMk cId="481449207" sldId="2884"/>
            <ac:spMk id="22" creationId="{48B95C45-3B58-1DA4-582E-5F0F499E46A5}"/>
          </ac:spMkLst>
        </pc:spChg>
        <pc:spChg chg="mod">
          <ac:chgData name="Aurelien Domont" userId="6da7715ce44349b3" providerId="LiveId" clId="{1F031B4F-7A08-47B6-9BBE-3BE595172CA2}" dt="2023-02-16T02:19:08.580" v="3059" actId="1035"/>
          <ac:spMkLst>
            <pc:docMk/>
            <pc:sldMk cId="481449207" sldId="2884"/>
            <ac:spMk id="45" creationId="{C40ABB58-A617-4C1D-B300-D06F0DBE43C3}"/>
          </ac:spMkLst>
        </pc:spChg>
      </pc:sldChg>
      <pc:sldChg chg="add">
        <pc:chgData name="Aurelien Domont" userId="6da7715ce44349b3" providerId="LiveId" clId="{1F031B4F-7A08-47B6-9BBE-3BE595172CA2}" dt="2023-02-16T01:58:35.904" v="2405"/>
        <pc:sldMkLst>
          <pc:docMk/>
          <pc:sldMk cId="3933103559" sldId="2885"/>
        </pc:sldMkLst>
      </pc:sldChg>
    </pc:docChg>
  </pc:docChgLst>
  <pc:docChgLst>
    <pc:chgData name="Aurelien Domont" userId="6da7715ce44349b3" providerId="LiveId" clId="{41F0A500-E4ED-4805-8D84-F6050E0C1B79}"/>
    <pc:docChg chg="undo custSel addSld delSld modSld">
      <pc:chgData name="Aurelien Domont" userId="6da7715ce44349b3" providerId="LiveId" clId="{41F0A500-E4ED-4805-8D84-F6050E0C1B79}" dt="2023-02-16T04:22:23.782" v="177" actId="20577"/>
      <pc:docMkLst>
        <pc:docMk/>
      </pc:docMkLst>
      <pc:sldChg chg="modSp mod">
        <pc:chgData name="Aurelien Domont" userId="6da7715ce44349b3" providerId="LiveId" clId="{41F0A500-E4ED-4805-8D84-F6050E0C1B79}" dt="2023-02-16T03:03:14.789" v="53" actId="113"/>
        <pc:sldMkLst>
          <pc:docMk/>
          <pc:sldMk cId="3131901387" sldId="256"/>
        </pc:sldMkLst>
        <pc:spChg chg="mod">
          <ac:chgData name="Aurelien Domont" userId="6da7715ce44349b3" providerId="LiveId" clId="{41F0A500-E4ED-4805-8D84-F6050E0C1B79}" dt="2023-02-16T03:03:14.789" v="53" actId="113"/>
          <ac:spMkLst>
            <pc:docMk/>
            <pc:sldMk cId="3131901387" sldId="256"/>
            <ac:spMk id="2" creationId="{5261080C-C60C-4746-B6B1-A9A4FFA86785}"/>
          </ac:spMkLst>
        </pc:spChg>
      </pc:sldChg>
      <pc:sldChg chg="add">
        <pc:chgData name="Aurelien Domont" userId="6da7715ce44349b3" providerId="LiveId" clId="{41F0A500-E4ED-4805-8D84-F6050E0C1B79}" dt="2023-02-16T03:35:47.668" v="87"/>
        <pc:sldMkLst>
          <pc:docMk/>
          <pc:sldMk cId="1754585881" sldId="1598"/>
        </pc:sldMkLst>
      </pc:sldChg>
      <pc:sldChg chg="add del">
        <pc:chgData name="Aurelien Domont" userId="6da7715ce44349b3" providerId="LiveId" clId="{41F0A500-E4ED-4805-8D84-F6050E0C1B79}" dt="2023-02-16T03:35:47.668" v="87"/>
        <pc:sldMkLst>
          <pc:docMk/>
          <pc:sldMk cId="2853806433" sldId="1600"/>
        </pc:sldMkLst>
      </pc:sldChg>
      <pc:sldChg chg="add">
        <pc:chgData name="Aurelien Domont" userId="6da7715ce44349b3" providerId="LiveId" clId="{41F0A500-E4ED-4805-8D84-F6050E0C1B79}" dt="2023-02-16T03:35:47.668" v="87"/>
        <pc:sldMkLst>
          <pc:docMk/>
          <pc:sldMk cId="1252826214" sldId="1711"/>
        </pc:sldMkLst>
      </pc:sldChg>
      <pc:sldChg chg="del">
        <pc:chgData name="Aurelien Domont" userId="6da7715ce44349b3" providerId="LiveId" clId="{41F0A500-E4ED-4805-8D84-F6050E0C1B79}" dt="2023-02-16T03:27:43.943" v="76" actId="47"/>
        <pc:sldMkLst>
          <pc:docMk/>
          <pc:sldMk cId="1253290912" sldId="1747"/>
        </pc:sldMkLst>
      </pc:sldChg>
      <pc:sldChg chg="del">
        <pc:chgData name="Aurelien Domont" userId="6da7715ce44349b3" providerId="LiveId" clId="{41F0A500-E4ED-4805-8D84-F6050E0C1B79}" dt="2023-02-16T03:27:43.943" v="76" actId="47"/>
        <pc:sldMkLst>
          <pc:docMk/>
          <pc:sldMk cId="317099162" sldId="1749"/>
        </pc:sldMkLst>
      </pc:sldChg>
      <pc:sldChg chg="del">
        <pc:chgData name="Aurelien Domont" userId="6da7715ce44349b3" providerId="LiveId" clId="{41F0A500-E4ED-4805-8D84-F6050E0C1B79}" dt="2023-02-16T03:28:03" v="77" actId="47"/>
        <pc:sldMkLst>
          <pc:docMk/>
          <pc:sldMk cId="3855801452" sldId="1787"/>
        </pc:sldMkLst>
      </pc:sldChg>
      <pc:sldChg chg="del">
        <pc:chgData name="Aurelien Domont" userId="6da7715ce44349b3" providerId="LiveId" clId="{41F0A500-E4ED-4805-8D84-F6050E0C1B79}" dt="2023-02-16T03:28:03" v="77" actId="47"/>
        <pc:sldMkLst>
          <pc:docMk/>
          <pc:sldMk cId="4009885783" sldId="1788"/>
        </pc:sldMkLst>
      </pc:sldChg>
      <pc:sldChg chg="del">
        <pc:chgData name="Aurelien Domont" userId="6da7715ce44349b3" providerId="LiveId" clId="{41F0A500-E4ED-4805-8D84-F6050E0C1B79}" dt="2023-02-16T03:28:03" v="77" actId="47"/>
        <pc:sldMkLst>
          <pc:docMk/>
          <pc:sldMk cId="1714268045" sldId="1789"/>
        </pc:sldMkLst>
      </pc:sldChg>
      <pc:sldChg chg="del">
        <pc:chgData name="Aurelien Domont" userId="6da7715ce44349b3" providerId="LiveId" clId="{41F0A500-E4ED-4805-8D84-F6050E0C1B79}" dt="2023-02-16T03:11:56.728" v="70" actId="47"/>
        <pc:sldMkLst>
          <pc:docMk/>
          <pc:sldMk cId="1675062303" sldId="1929"/>
        </pc:sldMkLst>
      </pc:sldChg>
      <pc:sldChg chg="del">
        <pc:chgData name="Aurelien Domont" userId="6da7715ce44349b3" providerId="LiveId" clId="{41F0A500-E4ED-4805-8D84-F6050E0C1B79}" dt="2023-02-16T03:11:56.728" v="70" actId="47"/>
        <pc:sldMkLst>
          <pc:docMk/>
          <pc:sldMk cId="471658671" sldId="1930"/>
        </pc:sldMkLst>
      </pc:sldChg>
      <pc:sldChg chg="addSp delSp modSp add mod">
        <pc:chgData name="Aurelien Domont" userId="6da7715ce44349b3" providerId="LiveId" clId="{41F0A500-E4ED-4805-8D84-F6050E0C1B79}" dt="2023-02-16T04:20:19.686" v="173" actId="2"/>
        <pc:sldMkLst>
          <pc:docMk/>
          <pc:sldMk cId="3938337455" sldId="2034"/>
        </pc:sldMkLst>
        <pc:spChg chg="mod">
          <ac:chgData name="Aurelien Domont" userId="6da7715ce44349b3" providerId="LiveId" clId="{41F0A500-E4ED-4805-8D84-F6050E0C1B79}" dt="2023-02-16T03:38:31.886" v="103" actId="113"/>
          <ac:spMkLst>
            <pc:docMk/>
            <pc:sldMk cId="3938337455" sldId="2034"/>
            <ac:spMk id="5" creationId="{EDA73FF4-2B75-2B48-884E-4130B509A68A}"/>
          </ac:spMkLst>
        </pc:spChg>
        <pc:spChg chg="mod">
          <ac:chgData name="Aurelien Domont" userId="6da7715ce44349b3" providerId="LiveId" clId="{41F0A500-E4ED-4805-8D84-F6050E0C1B79}" dt="2023-02-16T03:40:02.205" v="126" actId="208"/>
          <ac:spMkLst>
            <pc:docMk/>
            <pc:sldMk cId="3938337455" sldId="2034"/>
            <ac:spMk id="6" creationId="{7077FF90-18B3-4753-AB03-EA70B19442E9}"/>
          </ac:spMkLst>
        </pc:spChg>
        <pc:spChg chg="add del">
          <ac:chgData name="Aurelien Domont" userId="6da7715ce44349b3" providerId="LiveId" clId="{41F0A500-E4ED-4805-8D84-F6050E0C1B79}" dt="2023-02-16T03:38:58.346" v="112"/>
          <ac:spMkLst>
            <pc:docMk/>
            <pc:sldMk cId="3938337455" sldId="2034"/>
            <ac:spMk id="7" creationId="{F63335C9-97E8-707E-BF2E-62A1F3A19229}"/>
          </ac:spMkLst>
        </pc:spChg>
        <pc:spChg chg="mod">
          <ac:chgData name="Aurelien Domont" userId="6da7715ce44349b3" providerId="LiveId" clId="{41F0A500-E4ED-4805-8D84-F6050E0C1B79}" dt="2023-02-16T03:40:02.205" v="126" actId="208"/>
          <ac:spMkLst>
            <pc:docMk/>
            <pc:sldMk cId="3938337455" sldId="2034"/>
            <ac:spMk id="24" creationId="{10FC36E4-FF69-4225-8CCB-04169852A81D}"/>
          </ac:spMkLst>
        </pc:spChg>
        <pc:spChg chg="mod">
          <ac:chgData name="Aurelien Domont" userId="6da7715ce44349b3" providerId="LiveId" clId="{41F0A500-E4ED-4805-8D84-F6050E0C1B79}" dt="2023-02-16T03:40:02.205" v="126" actId="208"/>
          <ac:spMkLst>
            <pc:docMk/>
            <pc:sldMk cId="3938337455" sldId="2034"/>
            <ac:spMk id="25" creationId="{00620D10-048E-48D9-A2B4-B60613B1CC93}"/>
          </ac:spMkLst>
        </pc:spChg>
        <pc:spChg chg="mod">
          <ac:chgData name="Aurelien Domont" userId="6da7715ce44349b3" providerId="LiveId" clId="{41F0A500-E4ED-4805-8D84-F6050E0C1B79}" dt="2023-02-16T04:20:14.802" v="172" actId="313"/>
          <ac:spMkLst>
            <pc:docMk/>
            <pc:sldMk cId="3938337455" sldId="2034"/>
            <ac:spMk id="47" creationId="{2294D629-5734-4E8A-ACBC-857B7249F5A5}"/>
          </ac:spMkLst>
        </pc:spChg>
        <pc:spChg chg="mod">
          <ac:chgData name="Aurelien Domont" userId="6da7715ce44349b3" providerId="LiveId" clId="{41F0A500-E4ED-4805-8D84-F6050E0C1B79}" dt="2023-02-16T03:38:30.317" v="102" actId="113"/>
          <ac:spMkLst>
            <pc:docMk/>
            <pc:sldMk cId="3938337455" sldId="2034"/>
            <ac:spMk id="48" creationId="{971D573A-5304-4C92-8CB7-47985CE6549D}"/>
          </ac:spMkLst>
        </pc:spChg>
        <pc:spChg chg="mod">
          <ac:chgData name="Aurelien Domont" userId="6da7715ce44349b3" providerId="LiveId" clId="{41F0A500-E4ED-4805-8D84-F6050E0C1B79}" dt="2023-02-16T03:38:38.741" v="107" actId="113"/>
          <ac:spMkLst>
            <pc:docMk/>
            <pc:sldMk cId="3938337455" sldId="2034"/>
            <ac:spMk id="49" creationId="{5CF30ED3-F54D-472F-8C3E-5A39BAB8D140}"/>
          </ac:spMkLst>
        </pc:spChg>
        <pc:spChg chg="mod">
          <ac:chgData name="Aurelien Domont" userId="6da7715ce44349b3" providerId="LiveId" clId="{41F0A500-E4ED-4805-8D84-F6050E0C1B79}" dt="2023-02-16T04:20:19.686" v="173" actId="2"/>
          <ac:spMkLst>
            <pc:docMk/>
            <pc:sldMk cId="3938337455" sldId="2034"/>
            <ac:spMk id="50" creationId="{360D60BA-ED17-4774-B45A-F73EBAE34844}"/>
          </ac:spMkLst>
        </pc:spChg>
        <pc:spChg chg="mod">
          <ac:chgData name="Aurelien Domont" userId="6da7715ce44349b3" providerId="LiveId" clId="{41F0A500-E4ED-4805-8D84-F6050E0C1B79}" dt="2023-02-16T03:38:42.026" v="108" actId="113"/>
          <ac:spMkLst>
            <pc:docMk/>
            <pc:sldMk cId="3938337455" sldId="2034"/>
            <ac:spMk id="52" creationId="{99AA9153-C633-4C31-9E9A-0948942A95C9}"/>
          </ac:spMkLst>
        </pc:spChg>
        <pc:spChg chg="mod">
          <ac:chgData name="Aurelien Domont" userId="6da7715ce44349b3" providerId="LiveId" clId="{41F0A500-E4ED-4805-8D84-F6050E0C1B79}" dt="2023-02-16T03:38:27.617" v="101" actId="113"/>
          <ac:spMkLst>
            <pc:docMk/>
            <pc:sldMk cId="3938337455" sldId="2034"/>
            <ac:spMk id="53" creationId="{B2ED7A07-F9BD-4DB4-A9C5-B3108D40701B}"/>
          </ac:spMkLst>
        </pc:spChg>
        <pc:spChg chg="mod">
          <ac:chgData name="Aurelien Domont" userId="6da7715ce44349b3" providerId="LiveId" clId="{41F0A500-E4ED-4805-8D84-F6050E0C1B79}" dt="2023-02-16T03:38:35.952" v="106" actId="113"/>
          <ac:spMkLst>
            <pc:docMk/>
            <pc:sldMk cId="3938337455" sldId="2034"/>
            <ac:spMk id="54" creationId="{F2CB5A07-4EE0-490C-BC2F-099732840F2C}"/>
          </ac:spMkLst>
        </pc:spChg>
        <pc:spChg chg="mod">
          <ac:chgData name="Aurelien Domont" userId="6da7715ce44349b3" providerId="LiveId" clId="{41F0A500-E4ED-4805-8D84-F6050E0C1B79}" dt="2023-02-16T03:38:44.729" v="109" actId="113"/>
          <ac:spMkLst>
            <pc:docMk/>
            <pc:sldMk cId="3938337455" sldId="2034"/>
            <ac:spMk id="55" creationId="{DC0B345B-A8EC-4E95-8CAC-E5322CA56717}"/>
          </ac:spMkLst>
        </pc:spChg>
        <pc:picChg chg="add del">
          <ac:chgData name="Aurelien Domont" userId="6da7715ce44349b3" providerId="LiveId" clId="{41F0A500-E4ED-4805-8D84-F6050E0C1B79}" dt="2023-02-16T03:39:02.111" v="114" actId="478"/>
          <ac:picMkLst>
            <pc:docMk/>
            <pc:sldMk cId="3938337455" sldId="2034"/>
            <ac:picMk id="8" creationId="{468045FB-C4DC-3F5E-2256-05079F208973}"/>
          </ac:picMkLst>
        </pc:picChg>
        <pc:picChg chg="add mod">
          <ac:chgData name="Aurelien Domont" userId="6da7715ce44349b3" providerId="LiveId" clId="{41F0A500-E4ED-4805-8D84-F6050E0C1B79}" dt="2023-02-16T03:39:42.066" v="124" actId="1076"/>
          <ac:picMkLst>
            <pc:docMk/>
            <pc:sldMk cId="3938337455" sldId="2034"/>
            <ac:picMk id="11" creationId="{E8463B65-62CD-B971-73FE-9B07ECD3C802}"/>
          </ac:picMkLst>
        </pc:picChg>
        <pc:picChg chg="add mod">
          <ac:chgData name="Aurelien Domont" userId="6da7715ce44349b3" providerId="LiveId" clId="{41F0A500-E4ED-4805-8D84-F6050E0C1B79}" dt="2023-02-16T03:39:37.199" v="122" actId="1076"/>
          <ac:picMkLst>
            <pc:docMk/>
            <pc:sldMk cId="3938337455" sldId="2034"/>
            <ac:picMk id="13" creationId="{AD40B5E2-343D-B45B-F379-B6A2CF6F2F26}"/>
          </ac:picMkLst>
        </pc:picChg>
        <pc:picChg chg="del">
          <ac:chgData name="Aurelien Domont" userId="6da7715ce44349b3" providerId="LiveId" clId="{41F0A500-E4ED-4805-8D84-F6050E0C1B79}" dt="2023-02-16T03:39:03.438" v="115" actId="478"/>
          <ac:picMkLst>
            <pc:docMk/>
            <pc:sldMk cId="3938337455" sldId="2034"/>
            <ac:picMk id="18" creationId="{9FC40686-C658-407F-BDA4-C822A2049D77}"/>
          </ac:picMkLst>
        </pc:picChg>
        <pc:picChg chg="del">
          <ac:chgData name="Aurelien Domont" userId="6da7715ce44349b3" providerId="LiveId" clId="{41F0A500-E4ED-4805-8D84-F6050E0C1B79}" dt="2023-02-16T03:38:50.893" v="110" actId="478"/>
          <ac:picMkLst>
            <pc:docMk/>
            <pc:sldMk cId="3938337455" sldId="2034"/>
            <ac:picMk id="57" creationId="{0D0522DE-41AB-44CB-87E5-1CCD549ED18C}"/>
          </ac:picMkLst>
        </pc:picChg>
      </pc:sldChg>
      <pc:sldChg chg="add">
        <pc:chgData name="Aurelien Domont" userId="6da7715ce44349b3" providerId="LiveId" clId="{41F0A500-E4ED-4805-8D84-F6050E0C1B79}" dt="2023-02-16T03:35:47.668" v="87"/>
        <pc:sldMkLst>
          <pc:docMk/>
          <pc:sldMk cId="1926619926" sldId="2147"/>
        </pc:sldMkLst>
      </pc:sldChg>
      <pc:sldChg chg="del">
        <pc:chgData name="Aurelien Domont" userId="6da7715ce44349b3" providerId="LiveId" clId="{41F0A500-E4ED-4805-8D84-F6050E0C1B79}" dt="2023-02-16T03:11:56.728" v="70" actId="47"/>
        <pc:sldMkLst>
          <pc:docMk/>
          <pc:sldMk cId="423301223" sldId="2148"/>
        </pc:sldMkLst>
      </pc:sldChg>
      <pc:sldChg chg="del">
        <pc:chgData name="Aurelien Domont" userId="6da7715ce44349b3" providerId="LiveId" clId="{41F0A500-E4ED-4805-8D84-F6050E0C1B79}" dt="2023-02-16T03:11:56.728" v="70" actId="47"/>
        <pc:sldMkLst>
          <pc:docMk/>
          <pc:sldMk cId="1324642353" sldId="2152"/>
        </pc:sldMkLst>
      </pc:sldChg>
      <pc:sldChg chg="del">
        <pc:chgData name="Aurelien Domont" userId="6da7715ce44349b3" providerId="LiveId" clId="{41F0A500-E4ED-4805-8D84-F6050E0C1B79}" dt="2023-02-16T03:11:56.728" v="70" actId="47"/>
        <pc:sldMkLst>
          <pc:docMk/>
          <pc:sldMk cId="2226532108" sldId="2153"/>
        </pc:sldMkLst>
      </pc:sldChg>
      <pc:sldChg chg="del">
        <pc:chgData name="Aurelien Domont" userId="6da7715ce44349b3" providerId="LiveId" clId="{41F0A500-E4ED-4805-8D84-F6050E0C1B79}" dt="2023-02-16T03:11:56.728" v="70" actId="47"/>
        <pc:sldMkLst>
          <pc:docMk/>
          <pc:sldMk cId="3613236081" sldId="2154"/>
        </pc:sldMkLst>
      </pc:sldChg>
      <pc:sldChg chg="del">
        <pc:chgData name="Aurelien Domont" userId="6da7715ce44349b3" providerId="LiveId" clId="{41F0A500-E4ED-4805-8D84-F6050E0C1B79}" dt="2023-02-16T03:11:56.728" v="70" actId="47"/>
        <pc:sldMkLst>
          <pc:docMk/>
          <pc:sldMk cId="3175191540" sldId="2155"/>
        </pc:sldMkLst>
      </pc:sldChg>
      <pc:sldChg chg="addSp delSp modSp add mod">
        <pc:chgData name="Aurelien Domont" userId="6da7715ce44349b3" providerId="LiveId" clId="{41F0A500-E4ED-4805-8D84-F6050E0C1B79}" dt="2023-02-16T04:22:23.782" v="177" actId="20577"/>
        <pc:sldMkLst>
          <pc:docMk/>
          <pc:sldMk cId="1209091634" sldId="2192"/>
        </pc:sldMkLst>
        <pc:spChg chg="del">
          <ac:chgData name="Aurelien Domont" userId="6da7715ce44349b3" providerId="LiveId" clId="{41F0A500-E4ED-4805-8D84-F6050E0C1B79}" dt="2023-02-16T03:45:01.507" v="154" actId="478"/>
          <ac:spMkLst>
            <pc:docMk/>
            <pc:sldMk cId="1209091634" sldId="2192"/>
            <ac:spMk id="2" creationId="{22F184F3-7800-49B9-9809-C6E29F0E77A3}"/>
          </ac:spMkLst>
        </pc:spChg>
        <pc:spChg chg="del">
          <ac:chgData name="Aurelien Domont" userId="6da7715ce44349b3" providerId="LiveId" clId="{41F0A500-E4ED-4805-8D84-F6050E0C1B79}" dt="2023-02-16T03:45:01.507" v="154" actId="478"/>
          <ac:spMkLst>
            <pc:docMk/>
            <pc:sldMk cId="1209091634" sldId="2192"/>
            <ac:spMk id="3" creationId="{89871E1D-85DF-4A1A-B6B2-A8DDC4C5192D}"/>
          </ac:spMkLst>
        </pc:spChg>
        <pc:spChg chg="add mod">
          <ac:chgData name="Aurelien Domont" userId="6da7715ce44349b3" providerId="LiveId" clId="{41F0A500-E4ED-4805-8D84-F6050E0C1B79}" dt="2023-02-16T03:45:02.158" v="155"/>
          <ac:spMkLst>
            <pc:docMk/>
            <pc:sldMk cId="1209091634" sldId="2192"/>
            <ac:spMk id="6" creationId="{C605CC84-CD60-2183-599A-E6A6A57FFE7C}"/>
          </ac:spMkLst>
        </pc:spChg>
        <pc:spChg chg="del">
          <ac:chgData name="Aurelien Domont" userId="6da7715ce44349b3" providerId="LiveId" clId="{41F0A500-E4ED-4805-8D84-F6050E0C1B79}" dt="2023-02-16T03:45:01.507" v="154" actId="478"/>
          <ac:spMkLst>
            <pc:docMk/>
            <pc:sldMk cId="1209091634" sldId="2192"/>
            <ac:spMk id="7" creationId="{CC1E6177-3FF8-E597-12F0-F519240BD4AE}"/>
          </ac:spMkLst>
        </pc:spChg>
        <pc:spChg chg="add mod">
          <ac:chgData name="Aurelien Domont" userId="6da7715ce44349b3" providerId="LiveId" clId="{41F0A500-E4ED-4805-8D84-F6050E0C1B79}" dt="2023-02-16T03:45:02.158" v="155"/>
          <ac:spMkLst>
            <pc:docMk/>
            <pc:sldMk cId="1209091634" sldId="2192"/>
            <ac:spMk id="9" creationId="{E91A2A71-F788-96FD-822E-9586ABCF552D}"/>
          </ac:spMkLst>
        </pc:spChg>
        <pc:spChg chg="add mod">
          <ac:chgData name="Aurelien Domont" userId="6da7715ce44349b3" providerId="LiveId" clId="{41F0A500-E4ED-4805-8D84-F6050E0C1B79}" dt="2023-02-16T03:45:02.158" v="155"/>
          <ac:spMkLst>
            <pc:docMk/>
            <pc:sldMk cId="1209091634" sldId="2192"/>
            <ac:spMk id="14" creationId="{6068A606-EB4C-563E-F148-01D57718957B}"/>
          </ac:spMkLst>
        </pc:spChg>
        <pc:spChg chg="add mod">
          <ac:chgData name="Aurelien Domont" userId="6da7715ce44349b3" providerId="LiveId" clId="{41F0A500-E4ED-4805-8D84-F6050E0C1B79}" dt="2023-02-16T03:45:02.158" v="155"/>
          <ac:spMkLst>
            <pc:docMk/>
            <pc:sldMk cId="1209091634" sldId="2192"/>
            <ac:spMk id="15" creationId="{E73620C0-8D32-9E90-575E-02C2C2757545}"/>
          </ac:spMkLst>
        </pc:spChg>
        <pc:spChg chg="mod">
          <ac:chgData name="Aurelien Domont" userId="6da7715ce44349b3" providerId="LiveId" clId="{41F0A500-E4ED-4805-8D84-F6050E0C1B79}" dt="2023-02-16T04:22:23.782" v="177" actId="20577"/>
          <ac:spMkLst>
            <pc:docMk/>
            <pc:sldMk cId="1209091634" sldId="2192"/>
            <ac:spMk id="16" creationId="{6C2BB713-9637-4B9B-938F-E9768876782A}"/>
          </ac:spMkLst>
        </pc:spChg>
        <pc:spChg chg="add mod">
          <ac:chgData name="Aurelien Domont" userId="6da7715ce44349b3" providerId="LiveId" clId="{41F0A500-E4ED-4805-8D84-F6050E0C1B79}" dt="2023-02-16T03:45:02.158" v="155"/>
          <ac:spMkLst>
            <pc:docMk/>
            <pc:sldMk cId="1209091634" sldId="2192"/>
            <ac:spMk id="17" creationId="{E752C753-C38C-30A7-3145-D386DAA0D10C}"/>
          </ac:spMkLst>
        </pc:spChg>
        <pc:spChg chg="add mod">
          <ac:chgData name="Aurelien Domont" userId="6da7715ce44349b3" providerId="LiveId" clId="{41F0A500-E4ED-4805-8D84-F6050E0C1B79}" dt="2023-02-16T03:45:02.158" v="155"/>
          <ac:spMkLst>
            <pc:docMk/>
            <pc:sldMk cId="1209091634" sldId="2192"/>
            <ac:spMk id="19" creationId="{6E3FE145-9D78-3FB6-D28D-681918FA0078}"/>
          </ac:spMkLst>
        </pc:spChg>
        <pc:spChg chg="del">
          <ac:chgData name="Aurelien Domont" userId="6da7715ce44349b3" providerId="LiveId" clId="{41F0A500-E4ED-4805-8D84-F6050E0C1B79}" dt="2023-02-16T03:45:01.507" v="154" actId="478"/>
          <ac:spMkLst>
            <pc:docMk/>
            <pc:sldMk cId="1209091634" sldId="2192"/>
            <ac:spMk id="20" creationId="{551E37A9-8517-586E-523C-4E320698FF3F}"/>
          </ac:spMkLst>
        </pc:spChg>
        <pc:spChg chg="del">
          <ac:chgData name="Aurelien Domont" userId="6da7715ce44349b3" providerId="LiveId" clId="{41F0A500-E4ED-4805-8D84-F6050E0C1B79}" dt="2023-02-16T03:45:01.507" v="154" actId="478"/>
          <ac:spMkLst>
            <pc:docMk/>
            <pc:sldMk cId="1209091634" sldId="2192"/>
            <ac:spMk id="21" creationId="{79477008-AD07-7007-6E51-2C094AF68717}"/>
          </ac:spMkLst>
        </pc:spChg>
        <pc:spChg chg="add mod">
          <ac:chgData name="Aurelien Domont" userId="6da7715ce44349b3" providerId="LiveId" clId="{41F0A500-E4ED-4805-8D84-F6050E0C1B79}" dt="2023-02-16T03:45:02.158" v="155"/>
          <ac:spMkLst>
            <pc:docMk/>
            <pc:sldMk cId="1209091634" sldId="2192"/>
            <ac:spMk id="23" creationId="{5D367FFA-D150-714E-A0A1-13CC7D903132}"/>
          </ac:spMkLst>
        </pc:spChg>
        <pc:spChg chg="del">
          <ac:chgData name="Aurelien Domont" userId="6da7715ce44349b3" providerId="LiveId" clId="{41F0A500-E4ED-4805-8D84-F6050E0C1B79}" dt="2023-02-16T03:45:01.507" v="154" actId="478"/>
          <ac:spMkLst>
            <pc:docMk/>
            <pc:sldMk cId="1209091634" sldId="2192"/>
            <ac:spMk id="24" creationId="{11649953-F81A-7EEC-2114-836218E7ADFC}"/>
          </ac:spMkLst>
        </pc:spChg>
        <pc:spChg chg="del">
          <ac:chgData name="Aurelien Domont" userId="6da7715ce44349b3" providerId="LiveId" clId="{41F0A500-E4ED-4805-8D84-F6050E0C1B79}" dt="2023-02-16T03:45:01.507" v="154" actId="478"/>
          <ac:spMkLst>
            <pc:docMk/>
            <pc:sldMk cId="1209091634" sldId="2192"/>
            <ac:spMk id="27" creationId="{022F9676-1CDA-4501-AB55-94D67867C319}"/>
          </ac:spMkLst>
        </pc:spChg>
        <pc:spChg chg="add mod">
          <ac:chgData name="Aurelien Domont" userId="6da7715ce44349b3" providerId="LiveId" clId="{41F0A500-E4ED-4805-8D84-F6050E0C1B79}" dt="2023-02-16T03:45:02.158" v="155"/>
          <ac:spMkLst>
            <pc:docMk/>
            <pc:sldMk cId="1209091634" sldId="2192"/>
            <ac:spMk id="28" creationId="{6A3DD4BA-3C1E-EC8A-8825-38A45E17EF13}"/>
          </ac:spMkLst>
        </pc:spChg>
        <pc:spChg chg="add mod">
          <ac:chgData name="Aurelien Domont" userId="6da7715ce44349b3" providerId="LiveId" clId="{41F0A500-E4ED-4805-8D84-F6050E0C1B79}" dt="2023-02-16T03:45:02.158" v="155"/>
          <ac:spMkLst>
            <pc:docMk/>
            <pc:sldMk cId="1209091634" sldId="2192"/>
            <ac:spMk id="32" creationId="{D10E42B8-1635-FDD1-D6D1-186F18320CAB}"/>
          </ac:spMkLst>
        </pc:spChg>
        <pc:spChg chg="add mod">
          <ac:chgData name="Aurelien Domont" userId="6da7715ce44349b3" providerId="LiveId" clId="{41F0A500-E4ED-4805-8D84-F6050E0C1B79}" dt="2023-02-16T03:45:02.158" v="155"/>
          <ac:spMkLst>
            <pc:docMk/>
            <pc:sldMk cId="1209091634" sldId="2192"/>
            <ac:spMk id="33" creationId="{F635076D-2DF4-A820-DB09-DEEEDB8DC01A}"/>
          </ac:spMkLst>
        </pc:spChg>
        <pc:spChg chg="add mod">
          <ac:chgData name="Aurelien Domont" userId="6da7715ce44349b3" providerId="LiveId" clId="{41F0A500-E4ED-4805-8D84-F6050E0C1B79}" dt="2023-02-16T03:45:02.158" v="155"/>
          <ac:spMkLst>
            <pc:docMk/>
            <pc:sldMk cId="1209091634" sldId="2192"/>
            <ac:spMk id="35" creationId="{0247F946-4769-6745-A3EC-BA419DE10F73}"/>
          </ac:spMkLst>
        </pc:spChg>
        <pc:spChg chg="add mod">
          <ac:chgData name="Aurelien Domont" userId="6da7715ce44349b3" providerId="LiveId" clId="{41F0A500-E4ED-4805-8D84-F6050E0C1B79}" dt="2023-02-16T03:45:02.158" v="155"/>
          <ac:spMkLst>
            <pc:docMk/>
            <pc:sldMk cId="1209091634" sldId="2192"/>
            <ac:spMk id="36" creationId="{71723C2C-B247-3C64-5A0E-AEEADFCD61A1}"/>
          </ac:spMkLst>
        </pc:spChg>
        <pc:spChg chg="add mod">
          <ac:chgData name="Aurelien Domont" userId="6da7715ce44349b3" providerId="LiveId" clId="{41F0A500-E4ED-4805-8D84-F6050E0C1B79}" dt="2023-02-16T03:45:02.158" v="155"/>
          <ac:spMkLst>
            <pc:docMk/>
            <pc:sldMk cId="1209091634" sldId="2192"/>
            <ac:spMk id="37" creationId="{E8371282-8404-665D-E7E0-708C8B8FA52A}"/>
          </ac:spMkLst>
        </pc:spChg>
        <pc:spChg chg="add mod">
          <ac:chgData name="Aurelien Domont" userId="6da7715ce44349b3" providerId="LiveId" clId="{41F0A500-E4ED-4805-8D84-F6050E0C1B79}" dt="2023-02-16T03:45:02.158" v="155"/>
          <ac:spMkLst>
            <pc:docMk/>
            <pc:sldMk cId="1209091634" sldId="2192"/>
            <ac:spMk id="38" creationId="{0998B4A5-CA0D-57FC-7A27-DB793E334C4E}"/>
          </ac:spMkLst>
        </pc:spChg>
        <pc:spChg chg="add mod">
          <ac:chgData name="Aurelien Domont" userId="6da7715ce44349b3" providerId="LiveId" clId="{41F0A500-E4ED-4805-8D84-F6050E0C1B79}" dt="2023-02-16T03:45:02.158" v="155"/>
          <ac:spMkLst>
            <pc:docMk/>
            <pc:sldMk cId="1209091634" sldId="2192"/>
            <ac:spMk id="39" creationId="{1C97A1EC-5D90-2CE6-4873-0C4DF4620D72}"/>
          </ac:spMkLst>
        </pc:spChg>
        <pc:spChg chg="del">
          <ac:chgData name="Aurelien Domont" userId="6da7715ce44349b3" providerId="LiveId" clId="{41F0A500-E4ED-4805-8D84-F6050E0C1B79}" dt="2023-02-16T03:45:01.507" v="154" actId="478"/>
          <ac:spMkLst>
            <pc:docMk/>
            <pc:sldMk cId="1209091634" sldId="2192"/>
            <ac:spMk id="40" creationId="{FEDB459F-A4B8-4765-B92A-8FA0C8E5F993}"/>
          </ac:spMkLst>
        </pc:spChg>
        <pc:spChg chg="add mod">
          <ac:chgData name="Aurelien Domont" userId="6da7715ce44349b3" providerId="LiveId" clId="{41F0A500-E4ED-4805-8D84-F6050E0C1B79}" dt="2023-02-16T03:45:02.158" v="155"/>
          <ac:spMkLst>
            <pc:docMk/>
            <pc:sldMk cId="1209091634" sldId="2192"/>
            <ac:spMk id="42" creationId="{BC5BA055-EB0B-078D-B675-8236F138BA91}"/>
          </ac:spMkLst>
        </pc:spChg>
        <pc:spChg chg="del">
          <ac:chgData name="Aurelien Domont" userId="6da7715ce44349b3" providerId="LiveId" clId="{41F0A500-E4ED-4805-8D84-F6050E0C1B79}" dt="2023-02-16T03:45:01.507" v="154" actId="478"/>
          <ac:spMkLst>
            <pc:docMk/>
            <pc:sldMk cId="1209091634" sldId="2192"/>
            <ac:spMk id="45" creationId="{66C5F612-5A89-4C48-BDA9-92B6DBF678F8}"/>
          </ac:spMkLst>
        </pc:spChg>
        <pc:spChg chg="del">
          <ac:chgData name="Aurelien Domont" userId="6da7715ce44349b3" providerId="LiveId" clId="{41F0A500-E4ED-4805-8D84-F6050E0C1B79}" dt="2023-02-16T03:45:01.507" v="154" actId="478"/>
          <ac:spMkLst>
            <pc:docMk/>
            <pc:sldMk cId="1209091634" sldId="2192"/>
            <ac:spMk id="46" creationId="{5EDAE2A3-62C3-43E6-BBF2-1A1A1EBD0B6E}"/>
          </ac:spMkLst>
        </pc:spChg>
        <pc:spChg chg="add mod">
          <ac:chgData name="Aurelien Domont" userId="6da7715ce44349b3" providerId="LiveId" clId="{41F0A500-E4ED-4805-8D84-F6050E0C1B79}" dt="2023-02-16T03:45:02.158" v="155"/>
          <ac:spMkLst>
            <pc:docMk/>
            <pc:sldMk cId="1209091634" sldId="2192"/>
            <ac:spMk id="48" creationId="{4ADD9363-BC80-7BC3-66A2-5647F36B2B41}"/>
          </ac:spMkLst>
        </pc:spChg>
        <pc:spChg chg="add mod">
          <ac:chgData name="Aurelien Domont" userId="6da7715ce44349b3" providerId="LiveId" clId="{41F0A500-E4ED-4805-8D84-F6050E0C1B79}" dt="2023-02-16T03:45:02.158" v="155"/>
          <ac:spMkLst>
            <pc:docMk/>
            <pc:sldMk cId="1209091634" sldId="2192"/>
            <ac:spMk id="49" creationId="{0C41A29C-1853-17BA-6607-C3D51CFCD9E4}"/>
          </ac:spMkLst>
        </pc:spChg>
        <pc:spChg chg="del">
          <ac:chgData name="Aurelien Domont" userId="6da7715ce44349b3" providerId="LiveId" clId="{41F0A500-E4ED-4805-8D84-F6050E0C1B79}" dt="2023-02-16T03:45:01.507" v="154" actId="478"/>
          <ac:spMkLst>
            <pc:docMk/>
            <pc:sldMk cId="1209091634" sldId="2192"/>
            <ac:spMk id="55" creationId="{B19C6AB8-50EC-438D-A446-EAEE49B517D5}"/>
          </ac:spMkLst>
        </pc:spChg>
        <pc:spChg chg="del">
          <ac:chgData name="Aurelien Domont" userId="6da7715ce44349b3" providerId="LiveId" clId="{41F0A500-E4ED-4805-8D84-F6050E0C1B79}" dt="2023-02-16T03:45:01.507" v="154" actId="478"/>
          <ac:spMkLst>
            <pc:docMk/>
            <pc:sldMk cId="1209091634" sldId="2192"/>
            <ac:spMk id="59" creationId="{6C7DF474-2CC1-4311-83D5-C3FE3CC1E30D}"/>
          </ac:spMkLst>
        </pc:spChg>
        <pc:spChg chg="del">
          <ac:chgData name="Aurelien Domont" userId="6da7715ce44349b3" providerId="LiveId" clId="{41F0A500-E4ED-4805-8D84-F6050E0C1B79}" dt="2023-02-16T03:45:01.507" v="154" actId="478"/>
          <ac:spMkLst>
            <pc:docMk/>
            <pc:sldMk cId="1209091634" sldId="2192"/>
            <ac:spMk id="62" creationId="{9EE9DB63-ED4C-4127-B36A-76101EB9CFAD}"/>
          </ac:spMkLst>
        </pc:spChg>
        <pc:spChg chg="del">
          <ac:chgData name="Aurelien Domont" userId="6da7715ce44349b3" providerId="LiveId" clId="{41F0A500-E4ED-4805-8D84-F6050E0C1B79}" dt="2023-02-16T03:45:01.507" v="154" actId="478"/>
          <ac:spMkLst>
            <pc:docMk/>
            <pc:sldMk cId="1209091634" sldId="2192"/>
            <ac:spMk id="65" creationId="{4A3771A8-C5B6-42BD-82C3-A9E412040BEE}"/>
          </ac:spMkLst>
        </pc:spChg>
        <pc:spChg chg="del">
          <ac:chgData name="Aurelien Domont" userId="6da7715ce44349b3" providerId="LiveId" clId="{41F0A500-E4ED-4805-8D84-F6050E0C1B79}" dt="2023-02-16T03:45:01.507" v="154" actId="478"/>
          <ac:spMkLst>
            <pc:docMk/>
            <pc:sldMk cId="1209091634" sldId="2192"/>
            <ac:spMk id="68" creationId="{7B449ECB-2C8B-40FC-93B7-726F4E3E1EE3}"/>
          </ac:spMkLst>
        </pc:spChg>
        <pc:spChg chg="del">
          <ac:chgData name="Aurelien Domont" userId="6da7715ce44349b3" providerId="LiveId" clId="{41F0A500-E4ED-4805-8D84-F6050E0C1B79}" dt="2023-02-16T03:45:01.507" v="154" actId="478"/>
          <ac:spMkLst>
            <pc:docMk/>
            <pc:sldMk cId="1209091634" sldId="2192"/>
            <ac:spMk id="71" creationId="{7A5919BC-6626-464B-B363-D94E4AFEE7B8}"/>
          </ac:spMkLst>
        </pc:spChg>
        <pc:spChg chg="del">
          <ac:chgData name="Aurelien Domont" userId="6da7715ce44349b3" providerId="LiveId" clId="{41F0A500-E4ED-4805-8D84-F6050E0C1B79}" dt="2023-02-16T03:45:01.507" v="154" actId="478"/>
          <ac:spMkLst>
            <pc:docMk/>
            <pc:sldMk cId="1209091634" sldId="2192"/>
            <ac:spMk id="72" creationId="{A5FA095C-E1F2-4060-9576-F3C584F5ED56}"/>
          </ac:spMkLst>
        </pc:spChg>
        <pc:spChg chg="del">
          <ac:chgData name="Aurelien Domont" userId="6da7715ce44349b3" providerId="LiveId" clId="{41F0A500-E4ED-4805-8D84-F6050E0C1B79}" dt="2023-02-16T03:45:01.507" v="154" actId="478"/>
          <ac:spMkLst>
            <pc:docMk/>
            <pc:sldMk cId="1209091634" sldId="2192"/>
            <ac:spMk id="73" creationId="{2B2C1992-D3CE-429D-B1A0-8D95D7D035BF}"/>
          </ac:spMkLst>
        </pc:spChg>
        <pc:picChg chg="del">
          <ac:chgData name="Aurelien Domont" userId="6da7715ce44349b3" providerId="LiveId" clId="{41F0A500-E4ED-4805-8D84-F6050E0C1B79}" dt="2023-02-16T03:45:01.507" v="154" actId="478"/>
          <ac:picMkLst>
            <pc:docMk/>
            <pc:sldMk cId="1209091634" sldId="2192"/>
            <ac:picMk id="4" creationId="{3BDE9E0A-6F80-10ED-BEA3-717668C072C9}"/>
          </ac:picMkLst>
        </pc:picChg>
        <pc:picChg chg="add mod">
          <ac:chgData name="Aurelien Domont" userId="6da7715ce44349b3" providerId="LiveId" clId="{41F0A500-E4ED-4805-8D84-F6050E0C1B79}" dt="2023-02-16T03:45:02.158" v="155"/>
          <ac:picMkLst>
            <pc:docMk/>
            <pc:sldMk cId="1209091634" sldId="2192"/>
            <ac:picMk id="8" creationId="{46857B6E-ADD6-C01C-5B94-AFD63F3B4DF0}"/>
          </ac:picMkLst>
        </pc:picChg>
        <pc:picChg chg="add mod">
          <ac:chgData name="Aurelien Domont" userId="6da7715ce44349b3" providerId="LiveId" clId="{41F0A500-E4ED-4805-8D84-F6050E0C1B79}" dt="2023-02-16T03:45:02.158" v="155"/>
          <ac:picMkLst>
            <pc:docMk/>
            <pc:sldMk cId="1209091634" sldId="2192"/>
            <ac:picMk id="10" creationId="{96891CD2-39AB-3DE5-633A-208CA8F20182}"/>
          </ac:picMkLst>
        </pc:picChg>
        <pc:picChg chg="add mod">
          <ac:chgData name="Aurelien Domont" userId="6da7715ce44349b3" providerId="LiveId" clId="{41F0A500-E4ED-4805-8D84-F6050E0C1B79}" dt="2023-02-16T03:45:02.158" v="155"/>
          <ac:picMkLst>
            <pc:docMk/>
            <pc:sldMk cId="1209091634" sldId="2192"/>
            <ac:picMk id="11" creationId="{221FFAB5-7A8B-96FE-C945-59A605609CC9}"/>
          </ac:picMkLst>
        </pc:picChg>
        <pc:picChg chg="del">
          <ac:chgData name="Aurelien Domont" userId="6da7715ce44349b3" providerId="LiveId" clId="{41F0A500-E4ED-4805-8D84-F6050E0C1B79}" dt="2023-02-16T03:45:01.507" v="154" actId="478"/>
          <ac:picMkLst>
            <pc:docMk/>
            <pc:sldMk cId="1209091634" sldId="2192"/>
            <ac:picMk id="12" creationId="{70AA443A-7C27-58E2-5500-F47658FD329D}"/>
          </ac:picMkLst>
        </pc:picChg>
        <pc:picChg chg="add mod">
          <ac:chgData name="Aurelien Domont" userId="6da7715ce44349b3" providerId="LiveId" clId="{41F0A500-E4ED-4805-8D84-F6050E0C1B79}" dt="2023-02-16T03:45:02.158" v="155"/>
          <ac:picMkLst>
            <pc:docMk/>
            <pc:sldMk cId="1209091634" sldId="2192"/>
            <ac:picMk id="18" creationId="{317D759C-6306-AAEE-BCB3-46DCACD71775}"/>
          </ac:picMkLst>
        </pc:picChg>
        <pc:picChg chg="add mod">
          <ac:chgData name="Aurelien Domont" userId="6da7715ce44349b3" providerId="LiveId" clId="{41F0A500-E4ED-4805-8D84-F6050E0C1B79}" dt="2023-02-16T03:45:02.158" v="155"/>
          <ac:picMkLst>
            <pc:docMk/>
            <pc:sldMk cId="1209091634" sldId="2192"/>
            <ac:picMk id="22" creationId="{F5AA4FD4-3349-195A-825D-EE249BAD061F}"/>
          </ac:picMkLst>
        </pc:picChg>
        <pc:picChg chg="add mod">
          <ac:chgData name="Aurelien Domont" userId="6da7715ce44349b3" providerId="LiveId" clId="{41F0A500-E4ED-4805-8D84-F6050E0C1B79}" dt="2023-02-16T03:45:02.158" v="155"/>
          <ac:picMkLst>
            <pc:docMk/>
            <pc:sldMk cId="1209091634" sldId="2192"/>
            <ac:picMk id="25" creationId="{5E7783D5-2E9F-F4B4-CAC0-AA8F5FEF4B7E}"/>
          </ac:picMkLst>
        </pc:picChg>
        <pc:picChg chg="add mod">
          <ac:chgData name="Aurelien Domont" userId="6da7715ce44349b3" providerId="LiveId" clId="{41F0A500-E4ED-4805-8D84-F6050E0C1B79}" dt="2023-02-16T03:45:02.158" v="155"/>
          <ac:picMkLst>
            <pc:docMk/>
            <pc:sldMk cId="1209091634" sldId="2192"/>
            <ac:picMk id="30" creationId="{5ED6D772-4C35-BBD6-E948-0648C4B2139F}"/>
          </ac:picMkLst>
        </pc:picChg>
        <pc:picChg chg="del">
          <ac:chgData name="Aurelien Domont" userId="6da7715ce44349b3" providerId="LiveId" clId="{41F0A500-E4ED-4805-8D84-F6050E0C1B79}" dt="2023-02-16T03:45:01.507" v="154" actId="478"/>
          <ac:picMkLst>
            <pc:docMk/>
            <pc:sldMk cId="1209091634" sldId="2192"/>
            <ac:picMk id="31" creationId="{89979A0A-C018-44ED-8A86-BF1A8BB599EB}"/>
          </ac:picMkLst>
        </pc:picChg>
        <pc:picChg chg="add mod">
          <ac:chgData name="Aurelien Domont" userId="6da7715ce44349b3" providerId="LiveId" clId="{41F0A500-E4ED-4805-8D84-F6050E0C1B79}" dt="2023-02-16T03:45:02.158" v="155"/>
          <ac:picMkLst>
            <pc:docMk/>
            <pc:sldMk cId="1209091634" sldId="2192"/>
            <ac:picMk id="41" creationId="{34088AEC-83AF-7D8F-D84F-1FA0DEF589EE}"/>
          </ac:picMkLst>
        </pc:picChg>
        <pc:picChg chg="del">
          <ac:chgData name="Aurelien Domont" userId="6da7715ce44349b3" providerId="LiveId" clId="{41F0A500-E4ED-4805-8D84-F6050E0C1B79}" dt="2023-02-16T03:45:01.507" v="154" actId="478"/>
          <ac:picMkLst>
            <pc:docMk/>
            <pc:sldMk cId="1209091634" sldId="2192"/>
            <ac:picMk id="43" creationId="{250E8DD8-D2B2-4AA9-8FCB-518B8D2D5850}"/>
          </ac:picMkLst>
        </pc:picChg>
        <pc:picChg chg="del">
          <ac:chgData name="Aurelien Domont" userId="6da7715ce44349b3" providerId="LiveId" clId="{41F0A500-E4ED-4805-8D84-F6050E0C1B79}" dt="2023-02-16T03:45:01.507" v="154" actId="478"/>
          <ac:picMkLst>
            <pc:docMk/>
            <pc:sldMk cId="1209091634" sldId="2192"/>
            <ac:picMk id="44" creationId="{713EEF7A-E025-4053-86B3-ABF91302CF16}"/>
          </ac:picMkLst>
        </pc:picChg>
        <pc:picChg chg="add mod">
          <ac:chgData name="Aurelien Domont" userId="6da7715ce44349b3" providerId="LiveId" clId="{41F0A500-E4ED-4805-8D84-F6050E0C1B79}" dt="2023-02-16T03:45:02.158" v="155"/>
          <ac:picMkLst>
            <pc:docMk/>
            <pc:sldMk cId="1209091634" sldId="2192"/>
            <ac:picMk id="47" creationId="{45E4EFED-FB45-2A27-9DCF-383C2A0F4A32}"/>
          </ac:picMkLst>
        </pc:picChg>
        <pc:picChg chg="del">
          <ac:chgData name="Aurelien Domont" userId="6da7715ce44349b3" providerId="LiveId" clId="{41F0A500-E4ED-4805-8D84-F6050E0C1B79}" dt="2023-02-16T03:45:01.507" v="154" actId="478"/>
          <ac:picMkLst>
            <pc:docMk/>
            <pc:sldMk cId="1209091634" sldId="2192"/>
            <ac:picMk id="54" creationId="{B481BBB9-8897-4D23-AD98-D58A03A0AB85}"/>
          </ac:picMkLst>
        </pc:picChg>
        <pc:picChg chg="del">
          <ac:chgData name="Aurelien Domont" userId="6da7715ce44349b3" providerId="LiveId" clId="{41F0A500-E4ED-4805-8D84-F6050E0C1B79}" dt="2023-02-16T03:45:01.507" v="154" actId="478"/>
          <ac:picMkLst>
            <pc:docMk/>
            <pc:sldMk cId="1209091634" sldId="2192"/>
            <ac:picMk id="57" creationId="{4F72DDFE-F77B-4791-B57A-7D67C16E5603}"/>
          </ac:picMkLst>
        </pc:picChg>
        <pc:picChg chg="del">
          <ac:chgData name="Aurelien Domont" userId="6da7715ce44349b3" providerId="LiveId" clId="{41F0A500-E4ED-4805-8D84-F6050E0C1B79}" dt="2023-02-16T03:45:01.507" v="154" actId="478"/>
          <ac:picMkLst>
            <pc:docMk/>
            <pc:sldMk cId="1209091634" sldId="2192"/>
            <ac:picMk id="61" creationId="{D3CC5F63-F5D1-4C2F-8D3B-EC726B94E68B}"/>
          </ac:picMkLst>
        </pc:picChg>
        <pc:picChg chg="del">
          <ac:chgData name="Aurelien Domont" userId="6da7715ce44349b3" providerId="LiveId" clId="{41F0A500-E4ED-4805-8D84-F6050E0C1B79}" dt="2023-02-16T03:45:01.507" v="154" actId="478"/>
          <ac:picMkLst>
            <pc:docMk/>
            <pc:sldMk cId="1209091634" sldId="2192"/>
            <ac:picMk id="64" creationId="{5DCDAA2C-7647-447E-9FC0-509979E3A263}"/>
          </ac:picMkLst>
        </pc:picChg>
        <pc:picChg chg="del">
          <ac:chgData name="Aurelien Domont" userId="6da7715ce44349b3" providerId="LiveId" clId="{41F0A500-E4ED-4805-8D84-F6050E0C1B79}" dt="2023-02-16T03:45:01.507" v="154" actId="478"/>
          <ac:picMkLst>
            <pc:docMk/>
            <pc:sldMk cId="1209091634" sldId="2192"/>
            <ac:picMk id="67" creationId="{18B30E08-8105-4C53-B0F0-9D3EC6D4051C}"/>
          </ac:picMkLst>
        </pc:picChg>
        <pc:picChg chg="del">
          <ac:chgData name="Aurelien Domont" userId="6da7715ce44349b3" providerId="LiveId" clId="{41F0A500-E4ED-4805-8D84-F6050E0C1B79}" dt="2023-02-16T03:45:01.507" v="154" actId="478"/>
          <ac:picMkLst>
            <pc:docMk/>
            <pc:sldMk cId="1209091634" sldId="2192"/>
            <ac:picMk id="70" creationId="{66735B97-84A1-43FD-8AC2-9AEADD11D750}"/>
          </ac:picMkLst>
        </pc:picChg>
        <pc:cxnChg chg="del">
          <ac:chgData name="Aurelien Domont" userId="6da7715ce44349b3" providerId="LiveId" clId="{41F0A500-E4ED-4805-8D84-F6050E0C1B79}" dt="2023-02-16T03:45:01.507" v="154" actId="478"/>
          <ac:cxnSpMkLst>
            <pc:docMk/>
            <pc:sldMk cId="1209091634" sldId="2192"/>
            <ac:cxnSpMk id="26" creationId="{797E83DD-3321-C793-6A15-22AA5FB19F72}"/>
          </ac:cxnSpMkLst>
        </pc:cxnChg>
        <pc:cxnChg chg="del">
          <ac:chgData name="Aurelien Domont" userId="6da7715ce44349b3" providerId="LiveId" clId="{41F0A500-E4ED-4805-8D84-F6050E0C1B79}" dt="2023-02-16T03:45:01.507" v="154" actId="478"/>
          <ac:cxnSpMkLst>
            <pc:docMk/>
            <pc:sldMk cId="1209091634" sldId="2192"/>
            <ac:cxnSpMk id="29" creationId="{6D77DCCD-0FBF-CA3A-27A2-D0A2FD392F1B}"/>
          </ac:cxnSpMkLst>
        </pc:cxnChg>
        <pc:cxnChg chg="del">
          <ac:chgData name="Aurelien Domont" userId="6da7715ce44349b3" providerId="LiveId" clId="{41F0A500-E4ED-4805-8D84-F6050E0C1B79}" dt="2023-02-16T03:45:01.507" v="154" actId="478"/>
          <ac:cxnSpMkLst>
            <pc:docMk/>
            <pc:sldMk cId="1209091634" sldId="2192"/>
            <ac:cxnSpMk id="34" creationId="{4F96BCEB-A32F-AABB-BB36-A8F630022008}"/>
          </ac:cxnSpMkLst>
        </pc:cxnChg>
      </pc:sldChg>
      <pc:sldChg chg="add">
        <pc:chgData name="Aurelien Domont" userId="6da7715ce44349b3" providerId="LiveId" clId="{41F0A500-E4ED-4805-8D84-F6050E0C1B79}" dt="2023-02-16T03:35:47.668" v="87"/>
        <pc:sldMkLst>
          <pc:docMk/>
          <pc:sldMk cId="1534399825" sldId="2240"/>
        </pc:sldMkLst>
      </pc:sldChg>
      <pc:sldChg chg="del">
        <pc:chgData name="Aurelien Domont" userId="6da7715ce44349b3" providerId="LiveId" clId="{41F0A500-E4ED-4805-8D84-F6050E0C1B79}" dt="2023-02-16T03:12:45.866" v="72" actId="47"/>
        <pc:sldMkLst>
          <pc:docMk/>
          <pc:sldMk cId="1317447165" sldId="2276"/>
        </pc:sldMkLst>
      </pc:sldChg>
      <pc:sldChg chg="del">
        <pc:chgData name="Aurelien Domont" userId="6da7715ce44349b3" providerId="LiveId" clId="{41F0A500-E4ED-4805-8D84-F6050E0C1B79}" dt="2023-02-16T03:11:33.020" v="69" actId="47"/>
        <pc:sldMkLst>
          <pc:docMk/>
          <pc:sldMk cId="3439488634" sldId="2407"/>
        </pc:sldMkLst>
      </pc:sldChg>
      <pc:sldChg chg="add del">
        <pc:chgData name="Aurelien Domont" userId="6da7715ce44349b3" providerId="LiveId" clId="{41F0A500-E4ED-4805-8D84-F6050E0C1B79}" dt="2023-02-16T03:25:58.578" v="74"/>
        <pc:sldMkLst>
          <pc:docMk/>
          <pc:sldMk cId="1754246506" sldId="2410"/>
        </pc:sldMkLst>
      </pc:sldChg>
      <pc:sldChg chg="del">
        <pc:chgData name="Aurelien Domont" userId="6da7715ce44349b3" providerId="LiveId" clId="{41F0A500-E4ED-4805-8D84-F6050E0C1B79}" dt="2023-02-16T03:25:56.855" v="73" actId="47"/>
        <pc:sldMkLst>
          <pc:docMk/>
          <pc:sldMk cId="1617236116" sldId="2411"/>
        </pc:sldMkLst>
      </pc:sldChg>
      <pc:sldChg chg="add del">
        <pc:chgData name="Aurelien Domont" userId="6da7715ce44349b3" providerId="LiveId" clId="{41F0A500-E4ED-4805-8D84-F6050E0C1B79}" dt="2023-02-16T03:25:58.578" v="74"/>
        <pc:sldMkLst>
          <pc:docMk/>
          <pc:sldMk cId="4164122239" sldId="2412"/>
        </pc:sldMkLst>
      </pc:sldChg>
      <pc:sldChg chg="add del">
        <pc:chgData name="Aurelien Domont" userId="6da7715ce44349b3" providerId="LiveId" clId="{41F0A500-E4ED-4805-8D84-F6050E0C1B79}" dt="2023-02-16T03:25:58.578" v="74"/>
        <pc:sldMkLst>
          <pc:docMk/>
          <pc:sldMk cId="177328719" sldId="2413"/>
        </pc:sldMkLst>
      </pc:sldChg>
      <pc:sldChg chg="delSp mod">
        <pc:chgData name="Aurelien Domont" userId="6da7715ce44349b3" providerId="LiveId" clId="{41F0A500-E4ED-4805-8D84-F6050E0C1B79}" dt="2023-02-16T03:34:04.221" v="85" actId="478"/>
        <pc:sldMkLst>
          <pc:docMk/>
          <pc:sldMk cId="3844453214" sldId="2417"/>
        </pc:sldMkLst>
        <pc:spChg chg="del">
          <ac:chgData name="Aurelien Domont" userId="6da7715ce44349b3" providerId="LiveId" clId="{41F0A500-E4ED-4805-8D84-F6050E0C1B79}" dt="2023-02-16T03:34:04.221" v="85" actId="478"/>
          <ac:spMkLst>
            <pc:docMk/>
            <pc:sldMk cId="3844453214" sldId="2417"/>
            <ac:spMk id="8" creationId="{A59D9EB3-E9B5-436C-B84C-64290C638E46}"/>
          </ac:spMkLst>
        </pc:spChg>
      </pc:sldChg>
      <pc:sldChg chg="del">
        <pc:chgData name="Aurelien Domont" userId="6da7715ce44349b3" providerId="LiveId" clId="{41F0A500-E4ED-4805-8D84-F6050E0C1B79}" dt="2023-02-16T03:28:03" v="77" actId="47"/>
        <pc:sldMkLst>
          <pc:docMk/>
          <pc:sldMk cId="1721775899" sldId="2420"/>
        </pc:sldMkLst>
      </pc:sldChg>
      <pc:sldChg chg="del">
        <pc:chgData name="Aurelien Domont" userId="6da7715ce44349b3" providerId="LiveId" clId="{41F0A500-E4ED-4805-8D84-F6050E0C1B79}" dt="2023-02-16T03:28:03" v="77" actId="47"/>
        <pc:sldMkLst>
          <pc:docMk/>
          <pc:sldMk cId="1972335164" sldId="2421"/>
        </pc:sldMkLst>
      </pc:sldChg>
      <pc:sldChg chg="del">
        <pc:chgData name="Aurelien Domont" userId="6da7715ce44349b3" providerId="LiveId" clId="{41F0A500-E4ED-4805-8D84-F6050E0C1B79}" dt="2023-02-16T03:28:03" v="77" actId="47"/>
        <pc:sldMkLst>
          <pc:docMk/>
          <pc:sldMk cId="4013513185" sldId="2424"/>
        </pc:sldMkLst>
      </pc:sldChg>
      <pc:sldChg chg="del">
        <pc:chgData name="Aurelien Domont" userId="6da7715ce44349b3" providerId="LiveId" clId="{41F0A500-E4ED-4805-8D84-F6050E0C1B79}" dt="2023-02-16T03:28:03" v="77" actId="47"/>
        <pc:sldMkLst>
          <pc:docMk/>
          <pc:sldMk cId="234968368" sldId="2425"/>
        </pc:sldMkLst>
      </pc:sldChg>
      <pc:sldChg chg="del">
        <pc:chgData name="Aurelien Domont" userId="6da7715ce44349b3" providerId="LiveId" clId="{41F0A500-E4ED-4805-8D84-F6050E0C1B79}" dt="2023-02-16T03:28:03" v="77" actId="47"/>
        <pc:sldMkLst>
          <pc:docMk/>
          <pc:sldMk cId="811976027" sldId="2426"/>
        </pc:sldMkLst>
      </pc:sldChg>
      <pc:sldChg chg="del">
        <pc:chgData name="Aurelien Domont" userId="6da7715ce44349b3" providerId="LiveId" clId="{41F0A500-E4ED-4805-8D84-F6050E0C1B79}" dt="2023-02-16T03:28:03" v="77" actId="47"/>
        <pc:sldMkLst>
          <pc:docMk/>
          <pc:sldMk cId="658684134" sldId="2427"/>
        </pc:sldMkLst>
      </pc:sldChg>
      <pc:sldChg chg="del">
        <pc:chgData name="Aurelien Domont" userId="6da7715ce44349b3" providerId="LiveId" clId="{41F0A500-E4ED-4805-8D84-F6050E0C1B79}" dt="2023-02-16T03:12:45.866" v="72" actId="47"/>
        <pc:sldMkLst>
          <pc:docMk/>
          <pc:sldMk cId="3318062978" sldId="2438"/>
        </pc:sldMkLst>
      </pc:sldChg>
      <pc:sldChg chg="del">
        <pc:chgData name="Aurelien Domont" userId="6da7715ce44349b3" providerId="LiveId" clId="{41F0A500-E4ED-4805-8D84-F6050E0C1B79}" dt="2023-02-16T03:12:45.866" v="72" actId="47"/>
        <pc:sldMkLst>
          <pc:docMk/>
          <pc:sldMk cId="141523137" sldId="2439"/>
        </pc:sldMkLst>
      </pc:sldChg>
      <pc:sldChg chg="del">
        <pc:chgData name="Aurelien Domont" userId="6da7715ce44349b3" providerId="LiveId" clId="{41F0A500-E4ED-4805-8D84-F6050E0C1B79}" dt="2023-02-16T03:12:45.866" v="72" actId="47"/>
        <pc:sldMkLst>
          <pc:docMk/>
          <pc:sldMk cId="2212935543" sldId="2440"/>
        </pc:sldMkLst>
      </pc:sldChg>
      <pc:sldChg chg="del">
        <pc:chgData name="Aurelien Domont" userId="6da7715ce44349b3" providerId="LiveId" clId="{41F0A500-E4ED-4805-8D84-F6050E0C1B79}" dt="2023-02-16T03:12:45.866" v="72" actId="47"/>
        <pc:sldMkLst>
          <pc:docMk/>
          <pc:sldMk cId="4182032264" sldId="2444"/>
        </pc:sldMkLst>
      </pc:sldChg>
      <pc:sldChg chg="del">
        <pc:chgData name="Aurelien Domont" userId="6da7715ce44349b3" providerId="LiveId" clId="{41F0A500-E4ED-4805-8D84-F6050E0C1B79}" dt="2023-02-16T03:12:45.866" v="72" actId="47"/>
        <pc:sldMkLst>
          <pc:docMk/>
          <pc:sldMk cId="4024712621" sldId="2445"/>
        </pc:sldMkLst>
      </pc:sldChg>
      <pc:sldChg chg="del">
        <pc:chgData name="Aurelien Domont" userId="6da7715ce44349b3" providerId="LiveId" clId="{41F0A500-E4ED-4805-8D84-F6050E0C1B79}" dt="2023-02-16T03:27:43.943" v="76" actId="47"/>
        <pc:sldMkLst>
          <pc:docMk/>
          <pc:sldMk cId="282134541" sldId="2475"/>
        </pc:sldMkLst>
      </pc:sldChg>
      <pc:sldChg chg="del">
        <pc:chgData name="Aurelien Domont" userId="6da7715ce44349b3" providerId="LiveId" clId="{41F0A500-E4ED-4805-8D84-F6050E0C1B79}" dt="2023-02-16T03:28:03" v="77" actId="47"/>
        <pc:sldMkLst>
          <pc:docMk/>
          <pc:sldMk cId="2851838303" sldId="2476"/>
        </pc:sldMkLst>
      </pc:sldChg>
      <pc:sldChg chg="del">
        <pc:chgData name="Aurelien Domont" userId="6da7715ce44349b3" providerId="LiveId" clId="{41F0A500-E4ED-4805-8D84-F6050E0C1B79}" dt="2023-02-16T03:29:30.883" v="79" actId="47"/>
        <pc:sldMkLst>
          <pc:docMk/>
          <pc:sldMk cId="266260425" sldId="2478"/>
        </pc:sldMkLst>
      </pc:sldChg>
      <pc:sldChg chg="add del">
        <pc:chgData name="Aurelien Domont" userId="6da7715ce44349b3" providerId="LiveId" clId="{41F0A500-E4ED-4805-8D84-F6050E0C1B79}" dt="2023-02-16T03:32:28.044" v="82" actId="47"/>
        <pc:sldMkLst>
          <pc:docMk/>
          <pc:sldMk cId="1756636418" sldId="2486"/>
        </pc:sldMkLst>
      </pc:sldChg>
      <pc:sldChg chg="del">
        <pc:chgData name="Aurelien Domont" userId="6da7715ce44349b3" providerId="LiveId" clId="{41F0A500-E4ED-4805-8D84-F6050E0C1B79}" dt="2023-02-16T03:12:45.866" v="72" actId="47"/>
        <pc:sldMkLst>
          <pc:docMk/>
          <pc:sldMk cId="1518822418" sldId="2528"/>
        </pc:sldMkLst>
      </pc:sldChg>
      <pc:sldChg chg="del">
        <pc:chgData name="Aurelien Domont" userId="6da7715ce44349b3" providerId="LiveId" clId="{41F0A500-E4ED-4805-8D84-F6050E0C1B79}" dt="2023-02-16T03:12:45.866" v="72" actId="47"/>
        <pc:sldMkLst>
          <pc:docMk/>
          <pc:sldMk cId="114241174" sldId="2532"/>
        </pc:sldMkLst>
      </pc:sldChg>
      <pc:sldChg chg="del">
        <pc:chgData name="Aurelien Domont" userId="6da7715ce44349b3" providerId="LiveId" clId="{41F0A500-E4ED-4805-8D84-F6050E0C1B79}" dt="2023-02-16T03:12:45.866" v="72" actId="47"/>
        <pc:sldMkLst>
          <pc:docMk/>
          <pc:sldMk cId="3710951792" sldId="2534"/>
        </pc:sldMkLst>
      </pc:sldChg>
      <pc:sldChg chg="del">
        <pc:chgData name="Aurelien Domont" userId="6da7715ce44349b3" providerId="LiveId" clId="{41F0A500-E4ED-4805-8D84-F6050E0C1B79}" dt="2023-02-16T03:28:03" v="77" actId="47"/>
        <pc:sldMkLst>
          <pc:docMk/>
          <pc:sldMk cId="1460840373" sldId="2543"/>
        </pc:sldMkLst>
      </pc:sldChg>
      <pc:sldChg chg="del">
        <pc:chgData name="Aurelien Domont" userId="6da7715ce44349b3" providerId="LiveId" clId="{41F0A500-E4ED-4805-8D84-F6050E0C1B79}" dt="2023-02-16T03:28:03" v="77" actId="47"/>
        <pc:sldMkLst>
          <pc:docMk/>
          <pc:sldMk cId="3234245594" sldId="2544"/>
        </pc:sldMkLst>
      </pc:sldChg>
      <pc:sldChg chg="del">
        <pc:chgData name="Aurelien Domont" userId="6da7715ce44349b3" providerId="LiveId" clId="{41F0A500-E4ED-4805-8D84-F6050E0C1B79}" dt="2023-02-16T03:28:03" v="77" actId="47"/>
        <pc:sldMkLst>
          <pc:docMk/>
          <pc:sldMk cId="1171926163" sldId="2548"/>
        </pc:sldMkLst>
      </pc:sldChg>
      <pc:sldChg chg="del">
        <pc:chgData name="Aurelien Domont" userId="6da7715ce44349b3" providerId="LiveId" clId="{41F0A500-E4ED-4805-8D84-F6050E0C1B79}" dt="2023-02-16T03:28:03" v="77" actId="47"/>
        <pc:sldMkLst>
          <pc:docMk/>
          <pc:sldMk cId="3319712758" sldId="2549"/>
        </pc:sldMkLst>
      </pc:sldChg>
      <pc:sldChg chg="del">
        <pc:chgData name="Aurelien Domont" userId="6da7715ce44349b3" providerId="LiveId" clId="{41F0A500-E4ED-4805-8D84-F6050E0C1B79}" dt="2023-02-16T03:28:03" v="77" actId="47"/>
        <pc:sldMkLst>
          <pc:docMk/>
          <pc:sldMk cId="2825689156" sldId="2551"/>
        </pc:sldMkLst>
      </pc:sldChg>
      <pc:sldChg chg="del">
        <pc:chgData name="Aurelien Domont" userId="6da7715ce44349b3" providerId="LiveId" clId="{41F0A500-E4ED-4805-8D84-F6050E0C1B79}" dt="2023-02-16T03:28:03" v="77" actId="47"/>
        <pc:sldMkLst>
          <pc:docMk/>
          <pc:sldMk cId="3015757233" sldId="2552"/>
        </pc:sldMkLst>
      </pc:sldChg>
      <pc:sldChg chg="del">
        <pc:chgData name="Aurelien Domont" userId="6da7715ce44349b3" providerId="LiveId" clId="{41F0A500-E4ED-4805-8D84-F6050E0C1B79}" dt="2023-02-16T03:28:03" v="77" actId="47"/>
        <pc:sldMkLst>
          <pc:docMk/>
          <pc:sldMk cId="2341912036" sldId="2553"/>
        </pc:sldMkLst>
      </pc:sldChg>
      <pc:sldChg chg="del">
        <pc:chgData name="Aurelien Domont" userId="6da7715ce44349b3" providerId="LiveId" clId="{41F0A500-E4ED-4805-8D84-F6050E0C1B79}" dt="2023-02-16T03:28:03" v="77" actId="47"/>
        <pc:sldMkLst>
          <pc:docMk/>
          <pc:sldMk cId="3285208466" sldId="2566"/>
        </pc:sldMkLst>
      </pc:sldChg>
      <pc:sldChg chg="del">
        <pc:chgData name="Aurelien Domont" userId="6da7715ce44349b3" providerId="LiveId" clId="{41F0A500-E4ED-4805-8D84-F6050E0C1B79}" dt="2023-02-16T03:28:03" v="77" actId="47"/>
        <pc:sldMkLst>
          <pc:docMk/>
          <pc:sldMk cId="168400318" sldId="2573"/>
        </pc:sldMkLst>
      </pc:sldChg>
      <pc:sldChg chg="del">
        <pc:chgData name="Aurelien Domont" userId="6da7715ce44349b3" providerId="LiveId" clId="{41F0A500-E4ED-4805-8D84-F6050E0C1B79}" dt="2023-02-16T03:28:03" v="77" actId="47"/>
        <pc:sldMkLst>
          <pc:docMk/>
          <pc:sldMk cId="3109918362" sldId="2574"/>
        </pc:sldMkLst>
      </pc:sldChg>
      <pc:sldChg chg="del">
        <pc:chgData name="Aurelien Domont" userId="6da7715ce44349b3" providerId="LiveId" clId="{41F0A500-E4ED-4805-8D84-F6050E0C1B79}" dt="2023-02-16T03:28:03" v="77" actId="47"/>
        <pc:sldMkLst>
          <pc:docMk/>
          <pc:sldMk cId="3499924189" sldId="2576"/>
        </pc:sldMkLst>
      </pc:sldChg>
      <pc:sldChg chg="del">
        <pc:chgData name="Aurelien Domont" userId="6da7715ce44349b3" providerId="LiveId" clId="{41F0A500-E4ED-4805-8D84-F6050E0C1B79}" dt="2023-02-16T03:28:03" v="77" actId="47"/>
        <pc:sldMkLst>
          <pc:docMk/>
          <pc:sldMk cId="3274052290" sldId="2577"/>
        </pc:sldMkLst>
      </pc:sldChg>
      <pc:sldChg chg="del">
        <pc:chgData name="Aurelien Domont" userId="6da7715ce44349b3" providerId="LiveId" clId="{41F0A500-E4ED-4805-8D84-F6050E0C1B79}" dt="2023-02-16T03:28:03" v="77" actId="47"/>
        <pc:sldMkLst>
          <pc:docMk/>
          <pc:sldMk cId="149126807" sldId="2579"/>
        </pc:sldMkLst>
      </pc:sldChg>
      <pc:sldChg chg="del">
        <pc:chgData name="Aurelien Domont" userId="6da7715ce44349b3" providerId="LiveId" clId="{41F0A500-E4ED-4805-8D84-F6050E0C1B79}" dt="2023-02-16T03:28:03" v="77" actId="47"/>
        <pc:sldMkLst>
          <pc:docMk/>
          <pc:sldMk cId="920435364" sldId="2580"/>
        </pc:sldMkLst>
      </pc:sldChg>
      <pc:sldChg chg="del">
        <pc:chgData name="Aurelien Domont" userId="6da7715ce44349b3" providerId="LiveId" clId="{41F0A500-E4ED-4805-8D84-F6050E0C1B79}" dt="2023-02-16T03:28:03" v="77" actId="47"/>
        <pc:sldMkLst>
          <pc:docMk/>
          <pc:sldMk cId="973395138" sldId="2582"/>
        </pc:sldMkLst>
      </pc:sldChg>
      <pc:sldChg chg="del">
        <pc:chgData name="Aurelien Domont" userId="6da7715ce44349b3" providerId="LiveId" clId="{41F0A500-E4ED-4805-8D84-F6050E0C1B79}" dt="2023-02-16T03:28:03" v="77" actId="47"/>
        <pc:sldMkLst>
          <pc:docMk/>
          <pc:sldMk cId="2152972054" sldId="2585"/>
        </pc:sldMkLst>
      </pc:sldChg>
      <pc:sldChg chg="del">
        <pc:chgData name="Aurelien Domont" userId="6da7715ce44349b3" providerId="LiveId" clId="{41F0A500-E4ED-4805-8D84-F6050E0C1B79}" dt="2023-02-16T03:28:03" v="77" actId="47"/>
        <pc:sldMkLst>
          <pc:docMk/>
          <pc:sldMk cId="2531193052" sldId="2586"/>
        </pc:sldMkLst>
      </pc:sldChg>
      <pc:sldChg chg="del">
        <pc:chgData name="Aurelien Domont" userId="6da7715ce44349b3" providerId="LiveId" clId="{41F0A500-E4ED-4805-8D84-F6050E0C1B79}" dt="2023-02-16T03:28:03" v="77" actId="47"/>
        <pc:sldMkLst>
          <pc:docMk/>
          <pc:sldMk cId="4048029769" sldId="2587"/>
        </pc:sldMkLst>
      </pc:sldChg>
      <pc:sldChg chg="del">
        <pc:chgData name="Aurelien Domont" userId="6da7715ce44349b3" providerId="LiveId" clId="{41F0A500-E4ED-4805-8D84-F6050E0C1B79}" dt="2023-02-16T03:28:03" v="77" actId="47"/>
        <pc:sldMkLst>
          <pc:docMk/>
          <pc:sldMk cId="3145140750" sldId="2588"/>
        </pc:sldMkLst>
      </pc:sldChg>
      <pc:sldChg chg="del">
        <pc:chgData name="Aurelien Domont" userId="6da7715ce44349b3" providerId="LiveId" clId="{41F0A500-E4ED-4805-8D84-F6050E0C1B79}" dt="2023-02-16T03:28:03" v="77" actId="47"/>
        <pc:sldMkLst>
          <pc:docMk/>
          <pc:sldMk cId="1870678215" sldId="2589"/>
        </pc:sldMkLst>
      </pc:sldChg>
      <pc:sldChg chg="del">
        <pc:chgData name="Aurelien Domont" userId="6da7715ce44349b3" providerId="LiveId" clId="{41F0A500-E4ED-4805-8D84-F6050E0C1B79}" dt="2023-02-16T03:28:03" v="77" actId="47"/>
        <pc:sldMkLst>
          <pc:docMk/>
          <pc:sldMk cId="3987364234" sldId="2590"/>
        </pc:sldMkLst>
      </pc:sldChg>
      <pc:sldChg chg="del">
        <pc:chgData name="Aurelien Domont" userId="6da7715ce44349b3" providerId="LiveId" clId="{41F0A500-E4ED-4805-8D84-F6050E0C1B79}" dt="2023-02-16T03:28:03" v="77" actId="47"/>
        <pc:sldMkLst>
          <pc:docMk/>
          <pc:sldMk cId="2387750748" sldId="2591"/>
        </pc:sldMkLst>
      </pc:sldChg>
      <pc:sldChg chg="del">
        <pc:chgData name="Aurelien Domont" userId="6da7715ce44349b3" providerId="LiveId" clId="{41F0A500-E4ED-4805-8D84-F6050E0C1B79}" dt="2023-02-16T03:33:21.421" v="83" actId="47"/>
        <pc:sldMkLst>
          <pc:docMk/>
          <pc:sldMk cId="1271381689" sldId="2593"/>
        </pc:sldMkLst>
      </pc:sldChg>
      <pc:sldChg chg="del">
        <pc:chgData name="Aurelien Domont" userId="6da7715ce44349b3" providerId="LiveId" clId="{41F0A500-E4ED-4805-8D84-F6050E0C1B79}" dt="2023-02-16T03:33:21.421" v="83" actId="47"/>
        <pc:sldMkLst>
          <pc:docMk/>
          <pc:sldMk cId="1134372063" sldId="2595"/>
        </pc:sldMkLst>
      </pc:sldChg>
      <pc:sldChg chg="del">
        <pc:chgData name="Aurelien Domont" userId="6da7715ce44349b3" providerId="LiveId" clId="{41F0A500-E4ED-4805-8D84-F6050E0C1B79}" dt="2023-02-16T03:33:21.421" v="83" actId="47"/>
        <pc:sldMkLst>
          <pc:docMk/>
          <pc:sldMk cId="271317158" sldId="2596"/>
        </pc:sldMkLst>
      </pc:sldChg>
      <pc:sldChg chg="del">
        <pc:chgData name="Aurelien Domont" userId="6da7715ce44349b3" providerId="LiveId" clId="{41F0A500-E4ED-4805-8D84-F6050E0C1B79}" dt="2023-02-16T03:29:10.201" v="78" actId="47"/>
        <pc:sldMkLst>
          <pc:docMk/>
          <pc:sldMk cId="3404802973" sldId="2598"/>
        </pc:sldMkLst>
      </pc:sldChg>
      <pc:sldChg chg="del">
        <pc:chgData name="Aurelien Domont" userId="6da7715ce44349b3" providerId="LiveId" clId="{41F0A500-E4ED-4805-8D84-F6050E0C1B79}" dt="2023-02-16T03:29:10.201" v="78" actId="47"/>
        <pc:sldMkLst>
          <pc:docMk/>
          <pc:sldMk cId="1351119352" sldId="2600"/>
        </pc:sldMkLst>
      </pc:sldChg>
      <pc:sldChg chg="del">
        <pc:chgData name="Aurelien Domont" userId="6da7715ce44349b3" providerId="LiveId" clId="{41F0A500-E4ED-4805-8D84-F6050E0C1B79}" dt="2023-02-16T03:29:30.883" v="79" actId="47"/>
        <pc:sldMkLst>
          <pc:docMk/>
          <pc:sldMk cId="4192037883" sldId="2602"/>
        </pc:sldMkLst>
      </pc:sldChg>
      <pc:sldChg chg="del">
        <pc:chgData name="Aurelien Domont" userId="6da7715ce44349b3" providerId="LiveId" clId="{41F0A500-E4ED-4805-8D84-F6050E0C1B79}" dt="2023-02-16T03:29:30.883" v="79" actId="47"/>
        <pc:sldMkLst>
          <pc:docMk/>
          <pc:sldMk cId="2966377203" sldId="2603"/>
        </pc:sldMkLst>
      </pc:sldChg>
      <pc:sldChg chg="del">
        <pc:chgData name="Aurelien Domont" userId="6da7715ce44349b3" providerId="LiveId" clId="{41F0A500-E4ED-4805-8D84-F6050E0C1B79}" dt="2023-02-16T03:29:10.201" v="78" actId="47"/>
        <pc:sldMkLst>
          <pc:docMk/>
          <pc:sldMk cId="246641167" sldId="2606"/>
        </pc:sldMkLst>
      </pc:sldChg>
      <pc:sldChg chg="del">
        <pc:chgData name="Aurelien Domont" userId="6da7715ce44349b3" providerId="LiveId" clId="{41F0A500-E4ED-4805-8D84-F6050E0C1B79}" dt="2023-02-16T03:29:10.201" v="78" actId="47"/>
        <pc:sldMkLst>
          <pc:docMk/>
          <pc:sldMk cId="4278786815" sldId="2607"/>
        </pc:sldMkLst>
      </pc:sldChg>
      <pc:sldChg chg="del">
        <pc:chgData name="Aurelien Domont" userId="6da7715ce44349b3" providerId="LiveId" clId="{41F0A500-E4ED-4805-8D84-F6050E0C1B79}" dt="2023-02-16T03:29:10.201" v="78" actId="47"/>
        <pc:sldMkLst>
          <pc:docMk/>
          <pc:sldMk cId="1336764095" sldId="2609"/>
        </pc:sldMkLst>
      </pc:sldChg>
      <pc:sldChg chg="del">
        <pc:chgData name="Aurelien Domont" userId="6da7715ce44349b3" providerId="LiveId" clId="{41F0A500-E4ED-4805-8D84-F6050E0C1B79}" dt="2023-02-16T03:29:10.201" v="78" actId="47"/>
        <pc:sldMkLst>
          <pc:docMk/>
          <pc:sldMk cId="277450242" sldId="2610"/>
        </pc:sldMkLst>
      </pc:sldChg>
      <pc:sldChg chg="del">
        <pc:chgData name="Aurelien Domont" userId="6da7715ce44349b3" providerId="LiveId" clId="{41F0A500-E4ED-4805-8D84-F6050E0C1B79}" dt="2023-02-16T03:29:10.201" v="78" actId="47"/>
        <pc:sldMkLst>
          <pc:docMk/>
          <pc:sldMk cId="883288700" sldId="2618"/>
        </pc:sldMkLst>
      </pc:sldChg>
      <pc:sldChg chg="del">
        <pc:chgData name="Aurelien Domont" userId="6da7715ce44349b3" providerId="LiveId" clId="{41F0A500-E4ED-4805-8D84-F6050E0C1B79}" dt="2023-02-16T03:29:10.201" v="78" actId="47"/>
        <pc:sldMkLst>
          <pc:docMk/>
          <pc:sldMk cId="1477443042" sldId="2619"/>
        </pc:sldMkLst>
      </pc:sldChg>
      <pc:sldChg chg="del">
        <pc:chgData name="Aurelien Domont" userId="6da7715ce44349b3" providerId="LiveId" clId="{41F0A500-E4ED-4805-8D84-F6050E0C1B79}" dt="2023-02-16T03:33:21.421" v="83" actId="47"/>
        <pc:sldMkLst>
          <pc:docMk/>
          <pc:sldMk cId="145987337" sldId="2621"/>
        </pc:sldMkLst>
      </pc:sldChg>
      <pc:sldChg chg="del">
        <pc:chgData name="Aurelien Domont" userId="6da7715ce44349b3" providerId="LiveId" clId="{41F0A500-E4ED-4805-8D84-F6050E0C1B79}" dt="2023-02-16T03:33:21.421" v="83" actId="47"/>
        <pc:sldMkLst>
          <pc:docMk/>
          <pc:sldMk cId="930751640" sldId="2622"/>
        </pc:sldMkLst>
      </pc:sldChg>
      <pc:sldChg chg="del">
        <pc:chgData name="Aurelien Domont" userId="6da7715ce44349b3" providerId="LiveId" clId="{41F0A500-E4ED-4805-8D84-F6050E0C1B79}" dt="2023-02-16T03:29:30.883" v="79" actId="47"/>
        <pc:sldMkLst>
          <pc:docMk/>
          <pc:sldMk cId="2288615205" sldId="2625"/>
        </pc:sldMkLst>
      </pc:sldChg>
      <pc:sldChg chg="del">
        <pc:chgData name="Aurelien Domont" userId="6da7715ce44349b3" providerId="LiveId" clId="{41F0A500-E4ED-4805-8D84-F6050E0C1B79}" dt="2023-02-16T03:29:30.883" v="79" actId="47"/>
        <pc:sldMkLst>
          <pc:docMk/>
          <pc:sldMk cId="3024276857" sldId="2627"/>
        </pc:sldMkLst>
      </pc:sldChg>
      <pc:sldChg chg="del">
        <pc:chgData name="Aurelien Domont" userId="6da7715ce44349b3" providerId="LiveId" clId="{41F0A500-E4ED-4805-8D84-F6050E0C1B79}" dt="2023-02-16T03:29:30.883" v="79" actId="47"/>
        <pc:sldMkLst>
          <pc:docMk/>
          <pc:sldMk cId="557752984" sldId="2629"/>
        </pc:sldMkLst>
      </pc:sldChg>
      <pc:sldChg chg="del">
        <pc:chgData name="Aurelien Domont" userId="6da7715ce44349b3" providerId="LiveId" clId="{41F0A500-E4ED-4805-8D84-F6050E0C1B79}" dt="2023-02-16T03:29:30.883" v="79" actId="47"/>
        <pc:sldMkLst>
          <pc:docMk/>
          <pc:sldMk cId="2556662504" sldId="2632"/>
        </pc:sldMkLst>
      </pc:sldChg>
      <pc:sldChg chg="del">
        <pc:chgData name="Aurelien Domont" userId="6da7715ce44349b3" providerId="LiveId" clId="{41F0A500-E4ED-4805-8D84-F6050E0C1B79}" dt="2023-02-16T03:12:45.866" v="72" actId="47"/>
        <pc:sldMkLst>
          <pc:docMk/>
          <pc:sldMk cId="1690563895" sldId="2633"/>
        </pc:sldMkLst>
      </pc:sldChg>
      <pc:sldChg chg="del">
        <pc:chgData name="Aurelien Domont" userId="6da7715ce44349b3" providerId="LiveId" clId="{41F0A500-E4ED-4805-8D84-F6050E0C1B79}" dt="2023-02-16T03:29:30.883" v="79" actId="47"/>
        <pc:sldMkLst>
          <pc:docMk/>
          <pc:sldMk cId="3605416799" sldId="2635"/>
        </pc:sldMkLst>
      </pc:sldChg>
      <pc:sldChg chg="del">
        <pc:chgData name="Aurelien Domont" userId="6da7715ce44349b3" providerId="LiveId" clId="{41F0A500-E4ED-4805-8D84-F6050E0C1B79}" dt="2023-02-16T03:33:57.092" v="84" actId="47"/>
        <pc:sldMkLst>
          <pc:docMk/>
          <pc:sldMk cId="161867065" sldId="2640"/>
        </pc:sldMkLst>
      </pc:sldChg>
      <pc:sldChg chg="del">
        <pc:chgData name="Aurelien Domont" userId="6da7715ce44349b3" providerId="LiveId" clId="{41F0A500-E4ED-4805-8D84-F6050E0C1B79}" dt="2023-02-16T03:33:57.092" v="84" actId="47"/>
        <pc:sldMkLst>
          <pc:docMk/>
          <pc:sldMk cId="1189212000" sldId="2643"/>
        </pc:sldMkLst>
      </pc:sldChg>
      <pc:sldChg chg="del">
        <pc:chgData name="Aurelien Domont" userId="6da7715ce44349b3" providerId="LiveId" clId="{41F0A500-E4ED-4805-8D84-F6050E0C1B79}" dt="2023-02-16T03:11:56.728" v="70" actId="47"/>
        <pc:sldMkLst>
          <pc:docMk/>
          <pc:sldMk cId="3674217527" sldId="2645"/>
        </pc:sldMkLst>
      </pc:sldChg>
      <pc:sldChg chg="del">
        <pc:chgData name="Aurelien Domont" userId="6da7715ce44349b3" providerId="LiveId" clId="{41F0A500-E4ED-4805-8D84-F6050E0C1B79}" dt="2023-02-16T03:12:45.866" v="72" actId="47"/>
        <pc:sldMkLst>
          <pc:docMk/>
          <pc:sldMk cId="2088006258" sldId="2646"/>
        </pc:sldMkLst>
      </pc:sldChg>
      <pc:sldChg chg="del">
        <pc:chgData name="Aurelien Domont" userId="6da7715ce44349b3" providerId="LiveId" clId="{41F0A500-E4ED-4805-8D84-F6050E0C1B79}" dt="2023-02-16T03:12:45.866" v="72" actId="47"/>
        <pc:sldMkLst>
          <pc:docMk/>
          <pc:sldMk cId="297724604" sldId="2647"/>
        </pc:sldMkLst>
      </pc:sldChg>
      <pc:sldChg chg="del">
        <pc:chgData name="Aurelien Domont" userId="6da7715ce44349b3" providerId="LiveId" clId="{41F0A500-E4ED-4805-8D84-F6050E0C1B79}" dt="2023-02-16T03:12:45.866" v="72" actId="47"/>
        <pc:sldMkLst>
          <pc:docMk/>
          <pc:sldMk cId="893063664" sldId="2648"/>
        </pc:sldMkLst>
      </pc:sldChg>
      <pc:sldChg chg="del">
        <pc:chgData name="Aurelien Domont" userId="6da7715ce44349b3" providerId="LiveId" clId="{41F0A500-E4ED-4805-8D84-F6050E0C1B79}" dt="2023-02-16T03:12:45.866" v="72" actId="47"/>
        <pc:sldMkLst>
          <pc:docMk/>
          <pc:sldMk cId="2119263387" sldId="2650"/>
        </pc:sldMkLst>
      </pc:sldChg>
      <pc:sldChg chg="del">
        <pc:chgData name="Aurelien Domont" userId="6da7715ce44349b3" providerId="LiveId" clId="{41F0A500-E4ED-4805-8D84-F6050E0C1B79}" dt="2023-02-16T03:12:45.866" v="72" actId="47"/>
        <pc:sldMkLst>
          <pc:docMk/>
          <pc:sldMk cId="1354082921" sldId="2651"/>
        </pc:sldMkLst>
      </pc:sldChg>
      <pc:sldChg chg="del">
        <pc:chgData name="Aurelien Domont" userId="6da7715ce44349b3" providerId="LiveId" clId="{41F0A500-E4ED-4805-8D84-F6050E0C1B79}" dt="2023-02-16T03:12:45.866" v="72" actId="47"/>
        <pc:sldMkLst>
          <pc:docMk/>
          <pc:sldMk cId="1304110916" sldId="2652"/>
        </pc:sldMkLst>
      </pc:sldChg>
      <pc:sldChg chg="del">
        <pc:chgData name="Aurelien Domont" userId="6da7715ce44349b3" providerId="LiveId" clId="{41F0A500-E4ED-4805-8D84-F6050E0C1B79}" dt="2023-02-16T03:12:45.866" v="72" actId="47"/>
        <pc:sldMkLst>
          <pc:docMk/>
          <pc:sldMk cId="2574950337" sldId="2653"/>
        </pc:sldMkLst>
      </pc:sldChg>
      <pc:sldChg chg="del">
        <pc:chgData name="Aurelien Domont" userId="6da7715ce44349b3" providerId="LiveId" clId="{41F0A500-E4ED-4805-8D84-F6050E0C1B79}" dt="2023-02-16T03:11:33.020" v="69" actId="47"/>
        <pc:sldMkLst>
          <pc:docMk/>
          <pc:sldMk cId="1153674" sldId="2656"/>
        </pc:sldMkLst>
      </pc:sldChg>
      <pc:sldChg chg="del">
        <pc:chgData name="Aurelien Domont" userId="6da7715ce44349b3" providerId="LiveId" clId="{41F0A500-E4ED-4805-8D84-F6050E0C1B79}" dt="2023-02-16T03:26:13.524" v="75" actId="47"/>
        <pc:sldMkLst>
          <pc:docMk/>
          <pc:sldMk cId="3174988895" sldId="2684"/>
        </pc:sldMkLst>
      </pc:sldChg>
      <pc:sldChg chg="del">
        <pc:chgData name="Aurelien Domont" userId="6da7715ce44349b3" providerId="LiveId" clId="{41F0A500-E4ED-4805-8D84-F6050E0C1B79}" dt="2023-02-16T03:26:13.524" v="75" actId="47"/>
        <pc:sldMkLst>
          <pc:docMk/>
          <pc:sldMk cId="1242881402" sldId="2685"/>
        </pc:sldMkLst>
      </pc:sldChg>
      <pc:sldChg chg="del">
        <pc:chgData name="Aurelien Domont" userId="6da7715ce44349b3" providerId="LiveId" clId="{41F0A500-E4ED-4805-8D84-F6050E0C1B79}" dt="2023-02-16T03:27:43.943" v="76" actId="47"/>
        <pc:sldMkLst>
          <pc:docMk/>
          <pc:sldMk cId="2608958839" sldId="2690"/>
        </pc:sldMkLst>
      </pc:sldChg>
      <pc:sldChg chg="del">
        <pc:chgData name="Aurelien Domont" userId="6da7715ce44349b3" providerId="LiveId" clId="{41F0A500-E4ED-4805-8D84-F6050E0C1B79}" dt="2023-02-16T03:27:43.943" v="76" actId="47"/>
        <pc:sldMkLst>
          <pc:docMk/>
          <pc:sldMk cId="2962222376" sldId="2691"/>
        </pc:sldMkLst>
      </pc:sldChg>
      <pc:sldChg chg="del">
        <pc:chgData name="Aurelien Domont" userId="6da7715ce44349b3" providerId="LiveId" clId="{41F0A500-E4ED-4805-8D84-F6050E0C1B79}" dt="2023-02-16T03:27:43.943" v="76" actId="47"/>
        <pc:sldMkLst>
          <pc:docMk/>
          <pc:sldMk cId="3274122682" sldId="2692"/>
        </pc:sldMkLst>
      </pc:sldChg>
      <pc:sldChg chg="del">
        <pc:chgData name="Aurelien Domont" userId="6da7715ce44349b3" providerId="LiveId" clId="{41F0A500-E4ED-4805-8D84-F6050E0C1B79}" dt="2023-02-16T03:27:43.943" v="76" actId="47"/>
        <pc:sldMkLst>
          <pc:docMk/>
          <pc:sldMk cId="3797008395" sldId="2693"/>
        </pc:sldMkLst>
      </pc:sldChg>
      <pc:sldChg chg="del">
        <pc:chgData name="Aurelien Domont" userId="6da7715ce44349b3" providerId="LiveId" clId="{41F0A500-E4ED-4805-8D84-F6050E0C1B79}" dt="2023-02-16T03:27:43.943" v="76" actId="47"/>
        <pc:sldMkLst>
          <pc:docMk/>
          <pc:sldMk cId="2598134555" sldId="2694"/>
        </pc:sldMkLst>
      </pc:sldChg>
      <pc:sldChg chg="del">
        <pc:chgData name="Aurelien Domont" userId="6da7715ce44349b3" providerId="LiveId" clId="{41F0A500-E4ED-4805-8D84-F6050E0C1B79}" dt="2023-02-16T03:27:43.943" v="76" actId="47"/>
        <pc:sldMkLst>
          <pc:docMk/>
          <pc:sldMk cId="610895617" sldId="2695"/>
        </pc:sldMkLst>
      </pc:sldChg>
      <pc:sldChg chg="del">
        <pc:chgData name="Aurelien Domont" userId="6da7715ce44349b3" providerId="LiveId" clId="{41F0A500-E4ED-4805-8D84-F6050E0C1B79}" dt="2023-02-16T03:12:45.866" v="72" actId="47"/>
        <pc:sldMkLst>
          <pc:docMk/>
          <pc:sldMk cId="4198519387" sldId="2697"/>
        </pc:sldMkLst>
      </pc:sldChg>
      <pc:sldChg chg="del">
        <pc:chgData name="Aurelien Domont" userId="6da7715ce44349b3" providerId="LiveId" clId="{41F0A500-E4ED-4805-8D84-F6050E0C1B79}" dt="2023-02-16T03:27:43.943" v="76" actId="47"/>
        <pc:sldMkLst>
          <pc:docMk/>
          <pc:sldMk cId="2834671872" sldId="2699"/>
        </pc:sldMkLst>
      </pc:sldChg>
      <pc:sldChg chg="del">
        <pc:chgData name="Aurelien Domont" userId="6da7715ce44349b3" providerId="LiveId" clId="{41F0A500-E4ED-4805-8D84-F6050E0C1B79}" dt="2023-02-16T03:28:03" v="77" actId="47"/>
        <pc:sldMkLst>
          <pc:docMk/>
          <pc:sldMk cId="3807224539" sldId="2702"/>
        </pc:sldMkLst>
      </pc:sldChg>
      <pc:sldChg chg="del">
        <pc:chgData name="Aurelien Domont" userId="6da7715ce44349b3" providerId="LiveId" clId="{41F0A500-E4ED-4805-8D84-F6050E0C1B79}" dt="2023-02-16T03:26:13.524" v="75" actId="47"/>
        <pc:sldMkLst>
          <pc:docMk/>
          <pc:sldMk cId="17386054" sldId="2704"/>
        </pc:sldMkLst>
      </pc:sldChg>
      <pc:sldChg chg="del">
        <pc:chgData name="Aurelien Domont" userId="6da7715ce44349b3" providerId="LiveId" clId="{41F0A500-E4ED-4805-8D84-F6050E0C1B79}" dt="2023-02-16T03:28:03" v="77" actId="47"/>
        <pc:sldMkLst>
          <pc:docMk/>
          <pc:sldMk cId="1171420821" sldId="2710"/>
        </pc:sldMkLst>
      </pc:sldChg>
      <pc:sldChg chg="del">
        <pc:chgData name="Aurelien Domont" userId="6da7715ce44349b3" providerId="LiveId" clId="{41F0A500-E4ED-4805-8D84-F6050E0C1B79}" dt="2023-02-16T03:28:03" v="77" actId="47"/>
        <pc:sldMkLst>
          <pc:docMk/>
          <pc:sldMk cId="2882379130" sldId="2711"/>
        </pc:sldMkLst>
      </pc:sldChg>
      <pc:sldChg chg="del">
        <pc:chgData name="Aurelien Domont" userId="6da7715ce44349b3" providerId="LiveId" clId="{41F0A500-E4ED-4805-8D84-F6050E0C1B79}" dt="2023-02-16T03:28:03" v="77" actId="47"/>
        <pc:sldMkLst>
          <pc:docMk/>
          <pc:sldMk cId="1689730927" sldId="2712"/>
        </pc:sldMkLst>
      </pc:sldChg>
      <pc:sldChg chg="del">
        <pc:chgData name="Aurelien Domont" userId="6da7715ce44349b3" providerId="LiveId" clId="{41F0A500-E4ED-4805-8D84-F6050E0C1B79}" dt="2023-02-16T03:28:03" v="77" actId="47"/>
        <pc:sldMkLst>
          <pc:docMk/>
          <pc:sldMk cId="2135764499" sldId="2713"/>
        </pc:sldMkLst>
      </pc:sldChg>
      <pc:sldChg chg="del">
        <pc:chgData name="Aurelien Domont" userId="6da7715ce44349b3" providerId="LiveId" clId="{41F0A500-E4ED-4805-8D84-F6050E0C1B79}" dt="2023-02-16T03:28:03" v="77" actId="47"/>
        <pc:sldMkLst>
          <pc:docMk/>
          <pc:sldMk cId="1573836939" sldId="2714"/>
        </pc:sldMkLst>
      </pc:sldChg>
      <pc:sldChg chg="del">
        <pc:chgData name="Aurelien Domont" userId="6da7715ce44349b3" providerId="LiveId" clId="{41F0A500-E4ED-4805-8D84-F6050E0C1B79}" dt="2023-02-16T03:28:03" v="77" actId="47"/>
        <pc:sldMkLst>
          <pc:docMk/>
          <pc:sldMk cId="3390275683" sldId="2715"/>
        </pc:sldMkLst>
      </pc:sldChg>
      <pc:sldChg chg="del">
        <pc:chgData name="Aurelien Domont" userId="6da7715ce44349b3" providerId="LiveId" clId="{41F0A500-E4ED-4805-8D84-F6050E0C1B79}" dt="2023-02-16T03:28:03" v="77" actId="47"/>
        <pc:sldMkLst>
          <pc:docMk/>
          <pc:sldMk cId="525029393" sldId="2716"/>
        </pc:sldMkLst>
      </pc:sldChg>
      <pc:sldChg chg="del">
        <pc:chgData name="Aurelien Domont" userId="6da7715ce44349b3" providerId="LiveId" clId="{41F0A500-E4ED-4805-8D84-F6050E0C1B79}" dt="2023-02-16T03:28:03" v="77" actId="47"/>
        <pc:sldMkLst>
          <pc:docMk/>
          <pc:sldMk cId="717409554" sldId="2719"/>
        </pc:sldMkLst>
      </pc:sldChg>
      <pc:sldChg chg="del">
        <pc:chgData name="Aurelien Domont" userId="6da7715ce44349b3" providerId="LiveId" clId="{41F0A500-E4ED-4805-8D84-F6050E0C1B79}" dt="2023-02-16T03:28:03" v="77" actId="47"/>
        <pc:sldMkLst>
          <pc:docMk/>
          <pc:sldMk cId="2252086513" sldId="2720"/>
        </pc:sldMkLst>
      </pc:sldChg>
      <pc:sldChg chg="del">
        <pc:chgData name="Aurelien Domont" userId="6da7715ce44349b3" providerId="LiveId" clId="{41F0A500-E4ED-4805-8D84-F6050E0C1B79}" dt="2023-02-16T03:28:03" v="77" actId="47"/>
        <pc:sldMkLst>
          <pc:docMk/>
          <pc:sldMk cId="2453546627" sldId="2721"/>
        </pc:sldMkLst>
      </pc:sldChg>
      <pc:sldChg chg="del">
        <pc:chgData name="Aurelien Domont" userId="6da7715ce44349b3" providerId="LiveId" clId="{41F0A500-E4ED-4805-8D84-F6050E0C1B79}" dt="2023-02-16T03:28:03" v="77" actId="47"/>
        <pc:sldMkLst>
          <pc:docMk/>
          <pc:sldMk cId="2970166138" sldId="2722"/>
        </pc:sldMkLst>
      </pc:sldChg>
      <pc:sldChg chg="del">
        <pc:chgData name="Aurelien Domont" userId="6da7715ce44349b3" providerId="LiveId" clId="{41F0A500-E4ED-4805-8D84-F6050E0C1B79}" dt="2023-02-16T03:28:03" v="77" actId="47"/>
        <pc:sldMkLst>
          <pc:docMk/>
          <pc:sldMk cId="1437605306" sldId="2734"/>
        </pc:sldMkLst>
      </pc:sldChg>
      <pc:sldChg chg="del">
        <pc:chgData name="Aurelien Domont" userId="6da7715ce44349b3" providerId="LiveId" clId="{41F0A500-E4ED-4805-8D84-F6050E0C1B79}" dt="2023-02-16T03:28:03" v="77" actId="47"/>
        <pc:sldMkLst>
          <pc:docMk/>
          <pc:sldMk cId="3405486540" sldId="2735"/>
        </pc:sldMkLst>
      </pc:sldChg>
      <pc:sldChg chg="del">
        <pc:chgData name="Aurelien Domont" userId="6da7715ce44349b3" providerId="LiveId" clId="{41F0A500-E4ED-4805-8D84-F6050E0C1B79}" dt="2023-02-16T03:28:03" v="77" actId="47"/>
        <pc:sldMkLst>
          <pc:docMk/>
          <pc:sldMk cId="2628821654" sldId="2736"/>
        </pc:sldMkLst>
      </pc:sldChg>
      <pc:sldChg chg="del">
        <pc:chgData name="Aurelien Domont" userId="6da7715ce44349b3" providerId="LiveId" clId="{41F0A500-E4ED-4805-8D84-F6050E0C1B79}" dt="2023-02-16T03:29:10.201" v="78" actId="47"/>
        <pc:sldMkLst>
          <pc:docMk/>
          <pc:sldMk cId="1429555406" sldId="2738"/>
        </pc:sldMkLst>
      </pc:sldChg>
      <pc:sldChg chg="del">
        <pc:chgData name="Aurelien Domont" userId="6da7715ce44349b3" providerId="LiveId" clId="{41F0A500-E4ED-4805-8D84-F6050E0C1B79}" dt="2023-02-16T03:29:10.201" v="78" actId="47"/>
        <pc:sldMkLst>
          <pc:docMk/>
          <pc:sldMk cId="1759464966" sldId="2739"/>
        </pc:sldMkLst>
      </pc:sldChg>
      <pc:sldChg chg="del">
        <pc:chgData name="Aurelien Domont" userId="6da7715ce44349b3" providerId="LiveId" clId="{41F0A500-E4ED-4805-8D84-F6050E0C1B79}" dt="2023-02-16T03:29:10.201" v="78" actId="47"/>
        <pc:sldMkLst>
          <pc:docMk/>
          <pc:sldMk cId="3901388038" sldId="2742"/>
        </pc:sldMkLst>
      </pc:sldChg>
      <pc:sldChg chg="del">
        <pc:chgData name="Aurelien Domont" userId="6da7715ce44349b3" providerId="LiveId" clId="{41F0A500-E4ED-4805-8D84-F6050E0C1B79}" dt="2023-02-16T03:29:10.201" v="78" actId="47"/>
        <pc:sldMkLst>
          <pc:docMk/>
          <pc:sldMk cId="544850422" sldId="2743"/>
        </pc:sldMkLst>
      </pc:sldChg>
      <pc:sldChg chg="del">
        <pc:chgData name="Aurelien Domont" userId="6da7715ce44349b3" providerId="LiveId" clId="{41F0A500-E4ED-4805-8D84-F6050E0C1B79}" dt="2023-02-16T03:29:10.201" v="78" actId="47"/>
        <pc:sldMkLst>
          <pc:docMk/>
          <pc:sldMk cId="351876817" sldId="2744"/>
        </pc:sldMkLst>
      </pc:sldChg>
      <pc:sldChg chg="del">
        <pc:chgData name="Aurelien Domont" userId="6da7715ce44349b3" providerId="LiveId" clId="{41F0A500-E4ED-4805-8D84-F6050E0C1B79}" dt="2023-02-16T03:29:10.201" v="78" actId="47"/>
        <pc:sldMkLst>
          <pc:docMk/>
          <pc:sldMk cId="1201643738" sldId="2745"/>
        </pc:sldMkLst>
      </pc:sldChg>
      <pc:sldChg chg="del">
        <pc:chgData name="Aurelien Domont" userId="6da7715ce44349b3" providerId="LiveId" clId="{41F0A500-E4ED-4805-8D84-F6050E0C1B79}" dt="2023-02-16T03:29:10.201" v="78" actId="47"/>
        <pc:sldMkLst>
          <pc:docMk/>
          <pc:sldMk cId="1553889362" sldId="2746"/>
        </pc:sldMkLst>
      </pc:sldChg>
      <pc:sldChg chg="del">
        <pc:chgData name="Aurelien Domont" userId="6da7715ce44349b3" providerId="LiveId" clId="{41F0A500-E4ED-4805-8D84-F6050E0C1B79}" dt="2023-02-16T03:29:10.201" v="78" actId="47"/>
        <pc:sldMkLst>
          <pc:docMk/>
          <pc:sldMk cId="1550458345" sldId="2760"/>
        </pc:sldMkLst>
      </pc:sldChg>
      <pc:sldChg chg="del">
        <pc:chgData name="Aurelien Domont" userId="6da7715ce44349b3" providerId="LiveId" clId="{41F0A500-E4ED-4805-8D84-F6050E0C1B79}" dt="2023-02-16T03:29:10.201" v="78" actId="47"/>
        <pc:sldMkLst>
          <pc:docMk/>
          <pc:sldMk cId="3324380418" sldId="2761"/>
        </pc:sldMkLst>
      </pc:sldChg>
      <pc:sldChg chg="del">
        <pc:chgData name="Aurelien Domont" userId="6da7715ce44349b3" providerId="LiveId" clId="{41F0A500-E4ED-4805-8D84-F6050E0C1B79}" dt="2023-02-16T03:29:10.201" v="78" actId="47"/>
        <pc:sldMkLst>
          <pc:docMk/>
          <pc:sldMk cId="2379980393" sldId="2763"/>
        </pc:sldMkLst>
      </pc:sldChg>
      <pc:sldChg chg="del">
        <pc:chgData name="Aurelien Domont" userId="6da7715ce44349b3" providerId="LiveId" clId="{41F0A500-E4ED-4805-8D84-F6050E0C1B79}" dt="2023-02-16T03:29:10.201" v="78" actId="47"/>
        <pc:sldMkLst>
          <pc:docMk/>
          <pc:sldMk cId="1086098030" sldId="2765"/>
        </pc:sldMkLst>
      </pc:sldChg>
      <pc:sldChg chg="del">
        <pc:chgData name="Aurelien Domont" userId="6da7715ce44349b3" providerId="LiveId" clId="{41F0A500-E4ED-4805-8D84-F6050E0C1B79}" dt="2023-02-16T03:29:10.201" v="78" actId="47"/>
        <pc:sldMkLst>
          <pc:docMk/>
          <pc:sldMk cId="1468999048" sldId="2766"/>
        </pc:sldMkLst>
      </pc:sldChg>
      <pc:sldChg chg="del">
        <pc:chgData name="Aurelien Domont" userId="6da7715ce44349b3" providerId="LiveId" clId="{41F0A500-E4ED-4805-8D84-F6050E0C1B79}" dt="2023-02-16T03:29:10.201" v="78" actId="47"/>
        <pc:sldMkLst>
          <pc:docMk/>
          <pc:sldMk cId="1014992937" sldId="2767"/>
        </pc:sldMkLst>
      </pc:sldChg>
      <pc:sldChg chg="del">
        <pc:chgData name="Aurelien Domont" userId="6da7715ce44349b3" providerId="LiveId" clId="{41F0A500-E4ED-4805-8D84-F6050E0C1B79}" dt="2023-02-16T03:29:30.883" v="79" actId="47"/>
        <pc:sldMkLst>
          <pc:docMk/>
          <pc:sldMk cId="4147586859" sldId="2768"/>
        </pc:sldMkLst>
      </pc:sldChg>
      <pc:sldChg chg="del">
        <pc:chgData name="Aurelien Domont" userId="6da7715ce44349b3" providerId="LiveId" clId="{41F0A500-E4ED-4805-8D84-F6050E0C1B79}" dt="2023-02-16T03:29:30.883" v="79" actId="47"/>
        <pc:sldMkLst>
          <pc:docMk/>
          <pc:sldMk cId="1179540510" sldId="2769"/>
        </pc:sldMkLst>
      </pc:sldChg>
      <pc:sldChg chg="del">
        <pc:chgData name="Aurelien Domont" userId="6da7715ce44349b3" providerId="LiveId" clId="{41F0A500-E4ED-4805-8D84-F6050E0C1B79}" dt="2023-02-16T03:29:30.883" v="79" actId="47"/>
        <pc:sldMkLst>
          <pc:docMk/>
          <pc:sldMk cId="392253706" sldId="2771"/>
        </pc:sldMkLst>
      </pc:sldChg>
      <pc:sldChg chg="del">
        <pc:chgData name="Aurelien Domont" userId="6da7715ce44349b3" providerId="LiveId" clId="{41F0A500-E4ED-4805-8D84-F6050E0C1B79}" dt="2023-02-16T03:29:30.883" v="79" actId="47"/>
        <pc:sldMkLst>
          <pc:docMk/>
          <pc:sldMk cId="3170385694" sldId="2782"/>
        </pc:sldMkLst>
      </pc:sldChg>
      <pc:sldChg chg="del">
        <pc:chgData name="Aurelien Domont" userId="6da7715ce44349b3" providerId="LiveId" clId="{41F0A500-E4ED-4805-8D84-F6050E0C1B79}" dt="2023-02-16T03:29:30.883" v="79" actId="47"/>
        <pc:sldMkLst>
          <pc:docMk/>
          <pc:sldMk cId="770898493" sldId="2783"/>
        </pc:sldMkLst>
      </pc:sldChg>
      <pc:sldChg chg="del">
        <pc:chgData name="Aurelien Domont" userId="6da7715ce44349b3" providerId="LiveId" clId="{41F0A500-E4ED-4805-8D84-F6050E0C1B79}" dt="2023-02-16T03:29:30.883" v="79" actId="47"/>
        <pc:sldMkLst>
          <pc:docMk/>
          <pc:sldMk cId="4243610664" sldId="2784"/>
        </pc:sldMkLst>
      </pc:sldChg>
      <pc:sldChg chg="del">
        <pc:chgData name="Aurelien Domont" userId="6da7715ce44349b3" providerId="LiveId" clId="{41F0A500-E4ED-4805-8D84-F6050E0C1B79}" dt="2023-02-16T03:29:30.883" v="79" actId="47"/>
        <pc:sldMkLst>
          <pc:docMk/>
          <pc:sldMk cId="2106791307" sldId="2785"/>
        </pc:sldMkLst>
      </pc:sldChg>
      <pc:sldChg chg="del">
        <pc:chgData name="Aurelien Domont" userId="6da7715ce44349b3" providerId="LiveId" clId="{41F0A500-E4ED-4805-8D84-F6050E0C1B79}" dt="2023-02-16T03:29:30.883" v="79" actId="47"/>
        <pc:sldMkLst>
          <pc:docMk/>
          <pc:sldMk cId="976486270" sldId="2786"/>
        </pc:sldMkLst>
      </pc:sldChg>
      <pc:sldChg chg="del">
        <pc:chgData name="Aurelien Domont" userId="6da7715ce44349b3" providerId="LiveId" clId="{41F0A500-E4ED-4805-8D84-F6050E0C1B79}" dt="2023-02-16T03:29:30.883" v="79" actId="47"/>
        <pc:sldMkLst>
          <pc:docMk/>
          <pc:sldMk cId="444405697" sldId="2789"/>
        </pc:sldMkLst>
      </pc:sldChg>
      <pc:sldChg chg="del">
        <pc:chgData name="Aurelien Domont" userId="6da7715ce44349b3" providerId="LiveId" clId="{41F0A500-E4ED-4805-8D84-F6050E0C1B79}" dt="2023-02-16T03:29:30.883" v="79" actId="47"/>
        <pc:sldMkLst>
          <pc:docMk/>
          <pc:sldMk cId="1013501639" sldId="2790"/>
        </pc:sldMkLst>
      </pc:sldChg>
      <pc:sldChg chg="del">
        <pc:chgData name="Aurelien Domont" userId="6da7715ce44349b3" providerId="LiveId" clId="{41F0A500-E4ED-4805-8D84-F6050E0C1B79}" dt="2023-02-16T03:29:30.883" v="79" actId="47"/>
        <pc:sldMkLst>
          <pc:docMk/>
          <pc:sldMk cId="1137737596" sldId="2793"/>
        </pc:sldMkLst>
      </pc:sldChg>
      <pc:sldChg chg="del">
        <pc:chgData name="Aurelien Domont" userId="6da7715ce44349b3" providerId="LiveId" clId="{41F0A500-E4ED-4805-8D84-F6050E0C1B79}" dt="2023-02-16T03:29:30.883" v="79" actId="47"/>
        <pc:sldMkLst>
          <pc:docMk/>
          <pc:sldMk cId="719582974" sldId="2794"/>
        </pc:sldMkLst>
      </pc:sldChg>
      <pc:sldChg chg="del">
        <pc:chgData name="Aurelien Domont" userId="6da7715ce44349b3" providerId="LiveId" clId="{41F0A500-E4ED-4805-8D84-F6050E0C1B79}" dt="2023-02-16T03:29:30.883" v="79" actId="47"/>
        <pc:sldMkLst>
          <pc:docMk/>
          <pc:sldMk cId="3440327233" sldId="2795"/>
        </pc:sldMkLst>
      </pc:sldChg>
      <pc:sldChg chg="del">
        <pc:chgData name="Aurelien Domont" userId="6da7715ce44349b3" providerId="LiveId" clId="{41F0A500-E4ED-4805-8D84-F6050E0C1B79}" dt="2023-02-16T03:29:30.883" v="79" actId="47"/>
        <pc:sldMkLst>
          <pc:docMk/>
          <pc:sldMk cId="3486752604" sldId="2796"/>
        </pc:sldMkLst>
      </pc:sldChg>
      <pc:sldChg chg="del">
        <pc:chgData name="Aurelien Domont" userId="6da7715ce44349b3" providerId="LiveId" clId="{41F0A500-E4ED-4805-8D84-F6050E0C1B79}" dt="2023-02-16T03:28:03" v="77" actId="47"/>
        <pc:sldMkLst>
          <pc:docMk/>
          <pc:sldMk cId="2256428116" sldId="2798"/>
        </pc:sldMkLst>
      </pc:sldChg>
      <pc:sldChg chg="del">
        <pc:chgData name="Aurelien Domont" userId="6da7715ce44349b3" providerId="LiveId" clId="{41F0A500-E4ED-4805-8D84-F6050E0C1B79}" dt="2023-02-16T03:28:03" v="77" actId="47"/>
        <pc:sldMkLst>
          <pc:docMk/>
          <pc:sldMk cId="1317706576" sldId="2799"/>
        </pc:sldMkLst>
      </pc:sldChg>
      <pc:sldChg chg="del">
        <pc:chgData name="Aurelien Domont" userId="6da7715ce44349b3" providerId="LiveId" clId="{41F0A500-E4ED-4805-8D84-F6050E0C1B79}" dt="2023-02-16T03:29:10.201" v="78" actId="47"/>
        <pc:sldMkLst>
          <pc:docMk/>
          <pc:sldMk cId="3961326851" sldId="2800"/>
        </pc:sldMkLst>
      </pc:sldChg>
      <pc:sldChg chg="del">
        <pc:chgData name="Aurelien Domont" userId="6da7715ce44349b3" providerId="LiveId" clId="{41F0A500-E4ED-4805-8D84-F6050E0C1B79}" dt="2023-02-16T03:29:10.201" v="78" actId="47"/>
        <pc:sldMkLst>
          <pc:docMk/>
          <pc:sldMk cId="2227034554" sldId="2801"/>
        </pc:sldMkLst>
      </pc:sldChg>
      <pc:sldChg chg="del">
        <pc:chgData name="Aurelien Domont" userId="6da7715ce44349b3" providerId="LiveId" clId="{41F0A500-E4ED-4805-8D84-F6050E0C1B79}" dt="2023-02-16T03:29:10.201" v="78" actId="47"/>
        <pc:sldMkLst>
          <pc:docMk/>
          <pc:sldMk cId="1555481823" sldId="2802"/>
        </pc:sldMkLst>
      </pc:sldChg>
      <pc:sldChg chg="del">
        <pc:chgData name="Aurelien Domont" userId="6da7715ce44349b3" providerId="LiveId" clId="{41F0A500-E4ED-4805-8D84-F6050E0C1B79}" dt="2023-02-16T03:29:10.201" v="78" actId="47"/>
        <pc:sldMkLst>
          <pc:docMk/>
          <pc:sldMk cId="1956543247" sldId="2803"/>
        </pc:sldMkLst>
      </pc:sldChg>
      <pc:sldChg chg="del">
        <pc:chgData name="Aurelien Domont" userId="6da7715ce44349b3" providerId="LiveId" clId="{41F0A500-E4ED-4805-8D84-F6050E0C1B79}" dt="2023-02-16T03:29:10.201" v="78" actId="47"/>
        <pc:sldMkLst>
          <pc:docMk/>
          <pc:sldMk cId="2164046238" sldId="2804"/>
        </pc:sldMkLst>
      </pc:sldChg>
      <pc:sldChg chg="del">
        <pc:chgData name="Aurelien Domont" userId="6da7715ce44349b3" providerId="LiveId" clId="{41F0A500-E4ED-4805-8D84-F6050E0C1B79}" dt="2023-02-16T03:29:30.883" v="79" actId="47"/>
        <pc:sldMkLst>
          <pc:docMk/>
          <pc:sldMk cId="1173003416" sldId="2805"/>
        </pc:sldMkLst>
      </pc:sldChg>
      <pc:sldChg chg="del">
        <pc:chgData name="Aurelien Domont" userId="6da7715ce44349b3" providerId="LiveId" clId="{41F0A500-E4ED-4805-8D84-F6050E0C1B79}" dt="2023-02-16T03:29:30.883" v="79" actId="47"/>
        <pc:sldMkLst>
          <pc:docMk/>
          <pc:sldMk cId="1238934559" sldId="2806"/>
        </pc:sldMkLst>
      </pc:sldChg>
      <pc:sldChg chg="del">
        <pc:chgData name="Aurelien Domont" userId="6da7715ce44349b3" providerId="LiveId" clId="{41F0A500-E4ED-4805-8D84-F6050E0C1B79}" dt="2023-02-16T03:29:30.883" v="79" actId="47"/>
        <pc:sldMkLst>
          <pc:docMk/>
          <pc:sldMk cId="1453306358" sldId="2807"/>
        </pc:sldMkLst>
      </pc:sldChg>
      <pc:sldChg chg="del">
        <pc:chgData name="Aurelien Domont" userId="6da7715ce44349b3" providerId="LiveId" clId="{41F0A500-E4ED-4805-8D84-F6050E0C1B79}" dt="2023-02-16T03:01:33.660" v="16" actId="47"/>
        <pc:sldMkLst>
          <pc:docMk/>
          <pc:sldMk cId="1501941711" sldId="2809"/>
        </pc:sldMkLst>
      </pc:sldChg>
      <pc:sldChg chg="del">
        <pc:chgData name="Aurelien Domont" userId="6da7715ce44349b3" providerId="LiveId" clId="{41F0A500-E4ED-4805-8D84-F6050E0C1B79}" dt="2023-02-16T03:28:03" v="77" actId="47"/>
        <pc:sldMkLst>
          <pc:docMk/>
          <pc:sldMk cId="4037376043" sldId="2810"/>
        </pc:sldMkLst>
      </pc:sldChg>
      <pc:sldChg chg="modSp mod">
        <pc:chgData name="Aurelien Domont" userId="6da7715ce44349b3" providerId="LiveId" clId="{41F0A500-E4ED-4805-8D84-F6050E0C1B79}" dt="2023-02-16T03:11:16.712" v="68" actId="207"/>
        <pc:sldMkLst>
          <pc:docMk/>
          <pc:sldMk cId="880102048" sldId="2811"/>
        </pc:sldMkLst>
        <pc:spChg chg="mod">
          <ac:chgData name="Aurelien Domont" userId="6da7715ce44349b3" providerId="LiveId" clId="{41F0A500-E4ED-4805-8D84-F6050E0C1B79}" dt="2023-02-16T03:11:16.712" v="68" actId="207"/>
          <ac:spMkLst>
            <pc:docMk/>
            <pc:sldMk cId="880102048" sldId="2811"/>
            <ac:spMk id="9" creationId="{0F4B39A0-2803-47D9-93AE-F99798C91F06}"/>
          </ac:spMkLst>
        </pc:spChg>
        <pc:spChg chg="mod">
          <ac:chgData name="Aurelien Domont" userId="6da7715ce44349b3" providerId="LiveId" clId="{41F0A500-E4ED-4805-8D84-F6050E0C1B79}" dt="2023-02-16T03:10:47.109" v="65" actId="20577"/>
          <ac:spMkLst>
            <pc:docMk/>
            <pc:sldMk cId="880102048" sldId="2811"/>
            <ac:spMk id="16" creationId="{6C2BB713-9637-4B9B-938F-E9768876782A}"/>
          </ac:spMkLst>
        </pc:spChg>
        <pc:spChg chg="mod">
          <ac:chgData name="Aurelien Domont" userId="6da7715ce44349b3" providerId="LiveId" clId="{41F0A500-E4ED-4805-8D84-F6050E0C1B79}" dt="2023-02-16T03:11:11.343" v="66" actId="207"/>
          <ac:spMkLst>
            <pc:docMk/>
            <pc:sldMk cId="880102048" sldId="2811"/>
            <ac:spMk id="31" creationId="{1C1B78F5-CE09-4A06-8F1D-30227B5D6E15}"/>
          </ac:spMkLst>
        </pc:spChg>
      </pc:sldChg>
      <pc:sldChg chg="del">
        <pc:chgData name="Aurelien Domont" userId="6da7715ce44349b3" providerId="LiveId" clId="{41F0A500-E4ED-4805-8D84-F6050E0C1B79}" dt="2023-02-16T03:30:01.813" v="80" actId="47"/>
        <pc:sldMkLst>
          <pc:docMk/>
          <pc:sldMk cId="11208037" sldId="2813"/>
        </pc:sldMkLst>
      </pc:sldChg>
      <pc:sldChg chg="del">
        <pc:chgData name="Aurelien Domont" userId="6da7715ce44349b3" providerId="LiveId" clId="{41F0A500-E4ED-4805-8D84-F6050E0C1B79}" dt="2023-02-16T03:12:45.866" v="72" actId="47"/>
        <pc:sldMkLst>
          <pc:docMk/>
          <pc:sldMk cId="2585945969" sldId="2814"/>
        </pc:sldMkLst>
      </pc:sldChg>
      <pc:sldChg chg="del">
        <pc:chgData name="Aurelien Domont" userId="6da7715ce44349b3" providerId="LiveId" clId="{41F0A500-E4ED-4805-8D84-F6050E0C1B79}" dt="2023-02-16T03:12:45.866" v="72" actId="47"/>
        <pc:sldMkLst>
          <pc:docMk/>
          <pc:sldMk cId="1295088674" sldId="2815"/>
        </pc:sldMkLst>
      </pc:sldChg>
      <pc:sldChg chg="del">
        <pc:chgData name="Aurelien Domont" userId="6da7715ce44349b3" providerId="LiveId" clId="{41F0A500-E4ED-4805-8D84-F6050E0C1B79}" dt="2023-02-16T03:12:45.866" v="72" actId="47"/>
        <pc:sldMkLst>
          <pc:docMk/>
          <pc:sldMk cId="910304191" sldId="2816"/>
        </pc:sldMkLst>
      </pc:sldChg>
      <pc:sldChg chg="del">
        <pc:chgData name="Aurelien Domont" userId="6da7715ce44349b3" providerId="LiveId" clId="{41F0A500-E4ED-4805-8D84-F6050E0C1B79}" dt="2023-02-16T03:12:45.866" v="72" actId="47"/>
        <pc:sldMkLst>
          <pc:docMk/>
          <pc:sldMk cId="2470133787" sldId="2817"/>
        </pc:sldMkLst>
      </pc:sldChg>
      <pc:sldChg chg="del">
        <pc:chgData name="Aurelien Domont" userId="6da7715ce44349b3" providerId="LiveId" clId="{41F0A500-E4ED-4805-8D84-F6050E0C1B79}" dt="2023-02-16T03:12:45.866" v="72" actId="47"/>
        <pc:sldMkLst>
          <pc:docMk/>
          <pc:sldMk cId="1781728587" sldId="2818"/>
        </pc:sldMkLst>
      </pc:sldChg>
      <pc:sldChg chg="del">
        <pc:chgData name="Aurelien Domont" userId="6da7715ce44349b3" providerId="LiveId" clId="{41F0A500-E4ED-4805-8D84-F6050E0C1B79}" dt="2023-02-16T03:12:45.866" v="72" actId="47"/>
        <pc:sldMkLst>
          <pc:docMk/>
          <pc:sldMk cId="754206789" sldId="2819"/>
        </pc:sldMkLst>
      </pc:sldChg>
      <pc:sldChg chg="del">
        <pc:chgData name="Aurelien Domont" userId="6da7715ce44349b3" providerId="LiveId" clId="{41F0A500-E4ED-4805-8D84-F6050E0C1B79}" dt="2023-02-16T03:12:45.866" v="72" actId="47"/>
        <pc:sldMkLst>
          <pc:docMk/>
          <pc:sldMk cId="1726433618" sldId="2820"/>
        </pc:sldMkLst>
      </pc:sldChg>
      <pc:sldChg chg="del">
        <pc:chgData name="Aurelien Domont" userId="6da7715ce44349b3" providerId="LiveId" clId="{41F0A500-E4ED-4805-8D84-F6050E0C1B79}" dt="2023-02-16T03:27:43.943" v="76" actId="47"/>
        <pc:sldMkLst>
          <pc:docMk/>
          <pc:sldMk cId="204392000" sldId="2823"/>
        </pc:sldMkLst>
      </pc:sldChg>
      <pc:sldChg chg="del">
        <pc:chgData name="Aurelien Domont" userId="6da7715ce44349b3" providerId="LiveId" clId="{41F0A500-E4ED-4805-8D84-F6050E0C1B79}" dt="2023-02-16T03:27:43.943" v="76" actId="47"/>
        <pc:sldMkLst>
          <pc:docMk/>
          <pc:sldMk cId="1991075035" sldId="2824"/>
        </pc:sldMkLst>
      </pc:sldChg>
      <pc:sldChg chg="del">
        <pc:chgData name="Aurelien Domont" userId="6da7715ce44349b3" providerId="LiveId" clId="{41F0A500-E4ED-4805-8D84-F6050E0C1B79}" dt="2023-02-16T03:27:43.943" v="76" actId="47"/>
        <pc:sldMkLst>
          <pc:docMk/>
          <pc:sldMk cId="3300084978" sldId="2825"/>
        </pc:sldMkLst>
      </pc:sldChg>
      <pc:sldChg chg="del">
        <pc:chgData name="Aurelien Domont" userId="6da7715ce44349b3" providerId="LiveId" clId="{41F0A500-E4ED-4805-8D84-F6050E0C1B79}" dt="2023-02-16T03:28:03" v="77" actId="47"/>
        <pc:sldMkLst>
          <pc:docMk/>
          <pc:sldMk cId="2219096630" sldId="2828"/>
        </pc:sldMkLst>
      </pc:sldChg>
      <pc:sldChg chg="del">
        <pc:chgData name="Aurelien Domont" userId="6da7715ce44349b3" providerId="LiveId" clId="{41F0A500-E4ED-4805-8D84-F6050E0C1B79}" dt="2023-02-16T03:28:03" v="77" actId="47"/>
        <pc:sldMkLst>
          <pc:docMk/>
          <pc:sldMk cId="3873630409" sldId="2829"/>
        </pc:sldMkLst>
      </pc:sldChg>
      <pc:sldChg chg="del">
        <pc:chgData name="Aurelien Domont" userId="6da7715ce44349b3" providerId="LiveId" clId="{41F0A500-E4ED-4805-8D84-F6050E0C1B79}" dt="2023-02-16T03:28:03" v="77" actId="47"/>
        <pc:sldMkLst>
          <pc:docMk/>
          <pc:sldMk cId="2587246912" sldId="2830"/>
        </pc:sldMkLst>
      </pc:sldChg>
      <pc:sldChg chg="del">
        <pc:chgData name="Aurelien Domont" userId="6da7715ce44349b3" providerId="LiveId" clId="{41F0A500-E4ED-4805-8D84-F6050E0C1B79}" dt="2023-02-16T03:28:03" v="77" actId="47"/>
        <pc:sldMkLst>
          <pc:docMk/>
          <pc:sldMk cId="4207867199" sldId="2831"/>
        </pc:sldMkLst>
      </pc:sldChg>
      <pc:sldChg chg="del">
        <pc:chgData name="Aurelien Domont" userId="6da7715ce44349b3" providerId="LiveId" clId="{41F0A500-E4ED-4805-8D84-F6050E0C1B79}" dt="2023-02-16T03:28:03" v="77" actId="47"/>
        <pc:sldMkLst>
          <pc:docMk/>
          <pc:sldMk cId="515077404" sldId="2832"/>
        </pc:sldMkLst>
      </pc:sldChg>
      <pc:sldChg chg="del">
        <pc:chgData name="Aurelien Domont" userId="6da7715ce44349b3" providerId="LiveId" clId="{41F0A500-E4ED-4805-8D84-F6050E0C1B79}" dt="2023-02-16T03:28:03" v="77" actId="47"/>
        <pc:sldMkLst>
          <pc:docMk/>
          <pc:sldMk cId="1807432079" sldId="2833"/>
        </pc:sldMkLst>
      </pc:sldChg>
      <pc:sldChg chg="del">
        <pc:chgData name="Aurelien Domont" userId="6da7715ce44349b3" providerId="LiveId" clId="{41F0A500-E4ED-4805-8D84-F6050E0C1B79}" dt="2023-02-16T03:28:03" v="77" actId="47"/>
        <pc:sldMkLst>
          <pc:docMk/>
          <pc:sldMk cId="448699485" sldId="2835"/>
        </pc:sldMkLst>
      </pc:sldChg>
      <pc:sldChg chg="del">
        <pc:chgData name="Aurelien Domont" userId="6da7715ce44349b3" providerId="LiveId" clId="{41F0A500-E4ED-4805-8D84-F6050E0C1B79}" dt="2023-02-16T03:28:03" v="77" actId="47"/>
        <pc:sldMkLst>
          <pc:docMk/>
          <pc:sldMk cId="3754344301" sldId="2836"/>
        </pc:sldMkLst>
      </pc:sldChg>
      <pc:sldChg chg="del">
        <pc:chgData name="Aurelien Domont" userId="6da7715ce44349b3" providerId="LiveId" clId="{41F0A500-E4ED-4805-8D84-F6050E0C1B79}" dt="2023-02-16T03:28:03" v="77" actId="47"/>
        <pc:sldMkLst>
          <pc:docMk/>
          <pc:sldMk cId="2844622679" sldId="2837"/>
        </pc:sldMkLst>
      </pc:sldChg>
      <pc:sldChg chg="del">
        <pc:chgData name="Aurelien Domont" userId="6da7715ce44349b3" providerId="LiveId" clId="{41F0A500-E4ED-4805-8D84-F6050E0C1B79}" dt="2023-02-16T03:28:03" v="77" actId="47"/>
        <pc:sldMkLst>
          <pc:docMk/>
          <pc:sldMk cId="931108701" sldId="2838"/>
        </pc:sldMkLst>
      </pc:sldChg>
      <pc:sldChg chg="del">
        <pc:chgData name="Aurelien Domont" userId="6da7715ce44349b3" providerId="LiveId" clId="{41F0A500-E4ED-4805-8D84-F6050E0C1B79}" dt="2023-02-16T03:28:03" v="77" actId="47"/>
        <pc:sldMkLst>
          <pc:docMk/>
          <pc:sldMk cId="1839749288" sldId="2839"/>
        </pc:sldMkLst>
      </pc:sldChg>
      <pc:sldChg chg="del">
        <pc:chgData name="Aurelien Domont" userId="6da7715ce44349b3" providerId="LiveId" clId="{41F0A500-E4ED-4805-8D84-F6050E0C1B79}" dt="2023-02-16T03:28:03" v="77" actId="47"/>
        <pc:sldMkLst>
          <pc:docMk/>
          <pc:sldMk cId="99299538" sldId="2840"/>
        </pc:sldMkLst>
      </pc:sldChg>
      <pc:sldChg chg="del">
        <pc:chgData name="Aurelien Domont" userId="6da7715ce44349b3" providerId="LiveId" clId="{41F0A500-E4ED-4805-8D84-F6050E0C1B79}" dt="2023-02-16T03:33:57.092" v="84" actId="47"/>
        <pc:sldMkLst>
          <pc:docMk/>
          <pc:sldMk cId="2897878408" sldId="2841"/>
        </pc:sldMkLst>
      </pc:sldChg>
      <pc:sldChg chg="del">
        <pc:chgData name="Aurelien Domont" userId="6da7715ce44349b3" providerId="LiveId" clId="{41F0A500-E4ED-4805-8D84-F6050E0C1B79}" dt="2023-02-16T03:29:10.201" v="78" actId="47"/>
        <pc:sldMkLst>
          <pc:docMk/>
          <pc:sldMk cId="351107340" sldId="2842"/>
        </pc:sldMkLst>
      </pc:sldChg>
      <pc:sldChg chg="del">
        <pc:chgData name="Aurelien Domont" userId="6da7715ce44349b3" providerId="LiveId" clId="{41F0A500-E4ED-4805-8D84-F6050E0C1B79}" dt="2023-02-16T03:29:10.201" v="78" actId="47"/>
        <pc:sldMkLst>
          <pc:docMk/>
          <pc:sldMk cId="3301408557" sldId="2843"/>
        </pc:sldMkLst>
      </pc:sldChg>
      <pc:sldChg chg="del">
        <pc:chgData name="Aurelien Domont" userId="6da7715ce44349b3" providerId="LiveId" clId="{41F0A500-E4ED-4805-8D84-F6050E0C1B79}" dt="2023-02-16T03:29:10.201" v="78" actId="47"/>
        <pc:sldMkLst>
          <pc:docMk/>
          <pc:sldMk cId="820944881" sldId="2844"/>
        </pc:sldMkLst>
      </pc:sldChg>
      <pc:sldChg chg="del">
        <pc:chgData name="Aurelien Domont" userId="6da7715ce44349b3" providerId="LiveId" clId="{41F0A500-E4ED-4805-8D84-F6050E0C1B79}" dt="2023-02-16T03:29:10.201" v="78" actId="47"/>
        <pc:sldMkLst>
          <pc:docMk/>
          <pc:sldMk cId="1182925878" sldId="2845"/>
        </pc:sldMkLst>
      </pc:sldChg>
      <pc:sldChg chg="del">
        <pc:chgData name="Aurelien Domont" userId="6da7715ce44349b3" providerId="LiveId" clId="{41F0A500-E4ED-4805-8D84-F6050E0C1B79}" dt="2023-02-16T03:29:10.201" v="78" actId="47"/>
        <pc:sldMkLst>
          <pc:docMk/>
          <pc:sldMk cId="2656530410" sldId="2846"/>
        </pc:sldMkLst>
      </pc:sldChg>
      <pc:sldChg chg="del">
        <pc:chgData name="Aurelien Domont" userId="6da7715ce44349b3" providerId="LiveId" clId="{41F0A500-E4ED-4805-8D84-F6050E0C1B79}" dt="2023-02-16T03:29:10.201" v="78" actId="47"/>
        <pc:sldMkLst>
          <pc:docMk/>
          <pc:sldMk cId="2759316881" sldId="2847"/>
        </pc:sldMkLst>
      </pc:sldChg>
      <pc:sldChg chg="del">
        <pc:chgData name="Aurelien Domont" userId="6da7715ce44349b3" providerId="LiveId" clId="{41F0A500-E4ED-4805-8D84-F6050E0C1B79}" dt="2023-02-16T03:29:10.201" v="78" actId="47"/>
        <pc:sldMkLst>
          <pc:docMk/>
          <pc:sldMk cId="2052774859" sldId="2848"/>
        </pc:sldMkLst>
      </pc:sldChg>
      <pc:sldChg chg="del">
        <pc:chgData name="Aurelien Domont" userId="6da7715ce44349b3" providerId="LiveId" clId="{41F0A500-E4ED-4805-8D84-F6050E0C1B79}" dt="2023-02-16T03:29:10.201" v="78" actId="47"/>
        <pc:sldMkLst>
          <pc:docMk/>
          <pc:sldMk cId="3027109485" sldId="2849"/>
        </pc:sldMkLst>
      </pc:sldChg>
      <pc:sldChg chg="del">
        <pc:chgData name="Aurelien Domont" userId="6da7715ce44349b3" providerId="LiveId" clId="{41F0A500-E4ED-4805-8D84-F6050E0C1B79}" dt="2023-02-16T03:29:10.201" v="78" actId="47"/>
        <pc:sldMkLst>
          <pc:docMk/>
          <pc:sldMk cId="1571382826" sldId="2850"/>
        </pc:sldMkLst>
      </pc:sldChg>
      <pc:sldChg chg="del">
        <pc:chgData name="Aurelien Domont" userId="6da7715ce44349b3" providerId="LiveId" clId="{41F0A500-E4ED-4805-8D84-F6050E0C1B79}" dt="2023-02-16T03:29:10.201" v="78" actId="47"/>
        <pc:sldMkLst>
          <pc:docMk/>
          <pc:sldMk cId="3635585553" sldId="2851"/>
        </pc:sldMkLst>
      </pc:sldChg>
      <pc:sldChg chg="del">
        <pc:chgData name="Aurelien Domont" userId="6da7715ce44349b3" providerId="LiveId" clId="{41F0A500-E4ED-4805-8D84-F6050E0C1B79}" dt="2023-02-16T03:33:21.421" v="83" actId="47"/>
        <pc:sldMkLst>
          <pc:docMk/>
          <pc:sldMk cId="2695002001" sldId="2852"/>
        </pc:sldMkLst>
      </pc:sldChg>
      <pc:sldChg chg="del">
        <pc:chgData name="Aurelien Domont" userId="6da7715ce44349b3" providerId="LiveId" clId="{41F0A500-E4ED-4805-8D84-F6050E0C1B79}" dt="2023-02-16T03:29:30.883" v="79" actId="47"/>
        <pc:sldMkLst>
          <pc:docMk/>
          <pc:sldMk cId="3951331113" sldId="2853"/>
        </pc:sldMkLst>
      </pc:sldChg>
      <pc:sldChg chg="del">
        <pc:chgData name="Aurelien Domont" userId="6da7715ce44349b3" providerId="LiveId" clId="{41F0A500-E4ED-4805-8D84-F6050E0C1B79}" dt="2023-02-16T03:29:30.883" v="79" actId="47"/>
        <pc:sldMkLst>
          <pc:docMk/>
          <pc:sldMk cId="802179577" sldId="2854"/>
        </pc:sldMkLst>
      </pc:sldChg>
      <pc:sldChg chg="del">
        <pc:chgData name="Aurelien Domont" userId="6da7715ce44349b3" providerId="LiveId" clId="{41F0A500-E4ED-4805-8D84-F6050E0C1B79}" dt="2023-02-16T03:29:30.883" v="79" actId="47"/>
        <pc:sldMkLst>
          <pc:docMk/>
          <pc:sldMk cId="652607941" sldId="2855"/>
        </pc:sldMkLst>
      </pc:sldChg>
      <pc:sldChg chg="del">
        <pc:chgData name="Aurelien Domont" userId="6da7715ce44349b3" providerId="LiveId" clId="{41F0A500-E4ED-4805-8D84-F6050E0C1B79}" dt="2023-02-16T03:29:30.883" v="79" actId="47"/>
        <pc:sldMkLst>
          <pc:docMk/>
          <pc:sldMk cId="1312466160" sldId="2856"/>
        </pc:sldMkLst>
      </pc:sldChg>
      <pc:sldChg chg="del">
        <pc:chgData name="Aurelien Domont" userId="6da7715ce44349b3" providerId="LiveId" clId="{41F0A500-E4ED-4805-8D84-F6050E0C1B79}" dt="2023-02-16T03:29:30.883" v="79" actId="47"/>
        <pc:sldMkLst>
          <pc:docMk/>
          <pc:sldMk cId="1521977314" sldId="2857"/>
        </pc:sldMkLst>
      </pc:sldChg>
      <pc:sldChg chg="del">
        <pc:chgData name="Aurelien Domont" userId="6da7715ce44349b3" providerId="LiveId" clId="{41F0A500-E4ED-4805-8D84-F6050E0C1B79}" dt="2023-02-16T03:11:56.728" v="70" actId="47"/>
        <pc:sldMkLst>
          <pc:docMk/>
          <pc:sldMk cId="1640665180" sldId="2865"/>
        </pc:sldMkLst>
      </pc:sldChg>
      <pc:sldChg chg="del">
        <pc:chgData name="Aurelien Domont" userId="6da7715ce44349b3" providerId="LiveId" clId="{41F0A500-E4ED-4805-8D84-F6050E0C1B79}" dt="2023-02-16T03:27:43.943" v="76" actId="47"/>
        <pc:sldMkLst>
          <pc:docMk/>
          <pc:sldMk cId="3610873108" sldId="2870"/>
        </pc:sldMkLst>
      </pc:sldChg>
      <pc:sldChg chg="del">
        <pc:chgData name="Aurelien Domont" userId="6da7715ce44349b3" providerId="LiveId" clId="{41F0A500-E4ED-4805-8D84-F6050E0C1B79}" dt="2023-02-16T03:28:03" v="77" actId="47"/>
        <pc:sldMkLst>
          <pc:docMk/>
          <pc:sldMk cId="2534788747" sldId="2871"/>
        </pc:sldMkLst>
      </pc:sldChg>
      <pc:sldChg chg="del">
        <pc:chgData name="Aurelien Domont" userId="6da7715ce44349b3" providerId="LiveId" clId="{41F0A500-E4ED-4805-8D84-F6050E0C1B79}" dt="2023-02-16T03:28:03" v="77" actId="47"/>
        <pc:sldMkLst>
          <pc:docMk/>
          <pc:sldMk cId="770456769" sldId="2872"/>
        </pc:sldMkLst>
      </pc:sldChg>
      <pc:sldChg chg="del">
        <pc:chgData name="Aurelien Domont" userId="6da7715ce44349b3" providerId="LiveId" clId="{41F0A500-E4ED-4805-8D84-F6050E0C1B79}" dt="2023-02-16T03:28:03" v="77" actId="47"/>
        <pc:sldMkLst>
          <pc:docMk/>
          <pc:sldMk cId="2841726167" sldId="2873"/>
        </pc:sldMkLst>
      </pc:sldChg>
      <pc:sldChg chg="del">
        <pc:chgData name="Aurelien Domont" userId="6da7715ce44349b3" providerId="LiveId" clId="{41F0A500-E4ED-4805-8D84-F6050E0C1B79}" dt="2023-02-16T03:29:30.883" v="79" actId="47"/>
        <pc:sldMkLst>
          <pc:docMk/>
          <pc:sldMk cId="958942344" sldId="2874"/>
        </pc:sldMkLst>
      </pc:sldChg>
      <pc:sldChg chg="del">
        <pc:chgData name="Aurelien Domont" userId="6da7715ce44349b3" providerId="LiveId" clId="{41F0A500-E4ED-4805-8D84-F6050E0C1B79}" dt="2023-02-16T03:29:30.883" v="79" actId="47"/>
        <pc:sldMkLst>
          <pc:docMk/>
          <pc:sldMk cId="2400123803" sldId="2875"/>
        </pc:sldMkLst>
      </pc:sldChg>
      <pc:sldChg chg="del">
        <pc:chgData name="Aurelien Domont" userId="6da7715ce44349b3" providerId="LiveId" clId="{41F0A500-E4ED-4805-8D84-F6050E0C1B79}" dt="2023-02-16T03:29:30.883" v="79" actId="47"/>
        <pc:sldMkLst>
          <pc:docMk/>
          <pc:sldMk cId="1390132971" sldId="2876"/>
        </pc:sldMkLst>
      </pc:sldChg>
      <pc:sldChg chg="del">
        <pc:chgData name="Aurelien Domont" userId="6da7715ce44349b3" providerId="LiveId" clId="{41F0A500-E4ED-4805-8D84-F6050E0C1B79}" dt="2023-02-16T03:29:30.883" v="79" actId="47"/>
        <pc:sldMkLst>
          <pc:docMk/>
          <pc:sldMk cId="3056090743" sldId="2877"/>
        </pc:sldMkLst>
      </pc:sldChg>
      <pc:sldChg chg="del">
        <pc:chgData name="Aurelien Domont" userId="6da7715ce44349b3" providerId="LiveId" clId="{41F0A500-E4ED-4805-8D84-F6050E0C1B79}" dt="2023-02-16T03:29:30.883" v="79" actId="47"/>
        <pc:sldMkLst>
          <pc:docMk/>
          <pc:sldMk cId="3184558705" sldId="2878"/>
        </pc:sldMkLst>
      </pc:sldChg>
      <pc:sldChg chg="del">
        <pc:chgData name="Aurelien Domont" userId="6da7715ce44349b3" providerId="LiveId" clId="{41F0A500-E4ED-4805-8D84-F6050E0C1B79}" dt="2023-02-16T03:29:30.883" v="79" actId="47"/>
        <pc:sldMkLst>
          <pc:docMk/>
          <pc:sldMk cId="988595457" sldId="2879"/>
        </pc:sldMkLst>
      </pc:sldChg>
      <pc:sldChg chg="del">
        <pc:chgData name="Aurelien Domont" userId="6da7715ce44349b3" providerId="LiveId" clId="{41F0A500-E4ED-4805-8D84-F6050E0C1B79}" dt="2023-02-16T03:29:30.883" v="79" actId="47"/>
        <pc:sldMkLst>
          <pc:docMk/>
          <pc:sldMk cId="357216409" sldId="2880"/>
        </pc:sldMkLst>
      </pc:sldChg>
      <pc:sldChg chg="del">
        <pc:chgData name="Aurelien Domont" userId="6da7715ce44349b3" providerId="LiveId" clId="{41F0A500-E4ED-4805-8D84-F6050E0C1B79}" dt="2023-02-16T03:33:57.092" v="84" actId="47"/>
        <pc:sldMkLst>
          <pc:docMk/>
          <pc:sldMk cId="3511227816" sldId="2881"/>
        </pc:sldMkLst>
      </pc:sldChg>
      <pc:sldChg chg="del">
        <pc:chgData name="Aurelien Domont" userId="6da7715ce44349b3" providerId="LiveId" clId="{41F0A500-E4ED-4805-8D84-F6050E0C1B79}" dt="2023-02-16T03:33:57.092" v="84" actId="47"/>
        <pc:sldMkLst>
          <pc:docMk/>
          <pc:sldMk cId="1280474636" sldId="2882"/>
        </pc:sldMkLst>
      </pc:sldChg>
      <pc:sldChg chg="del">
        <pc:chgData name="Aurelien Domont" userId="6da7715ce44349b3" providerId="LiveId" clId="{41F0A500-E4ED-4805-8D84-F6050E0C1B79}" dt="2023-02-16T03:28:03" v="77" actId="47"/>
        <pc:sldMkLst>
          <pc:docMk/>
          <pc:sldMk cId="370860101" sldId="2883"/>
        </pc:sldMkLst>
      </pc:sldChg>
      <pc:sldChg chg="addSp modSp del mod">
        <pc:chgData name="Aurelien Domont" userId="6da7715ce44349b3" providerId="LiveId" clId="{41F0A500-E4ED-4805-8D84-F6050E0C1B79}" dt="2023-02-16T04:00:00.239" v="171" actId="47"/>
        <pc:sldMkLst>
          <pc:docMk/>
          <pc:sldMk cId="481449207" sldId="2884"/>
        </pc:sldMkLst>
        <pc:spChg chg="add mod">
          <ac:chgData name="Aurelien Domont" userId="6da7715ce44349b3" providerId="LiveId" clId="{41F0A500-E4ED-4805-8D84-F6050E0C1B79}" dt="2023-02-16T03:54:41.610" v="169" actId="207"/>
          <ac:spMkLst>
            <pc:docMk/>
            <pc:sldMk cId="481449207" sldId="2884"/>
            <ac:spMk id="6" creationId="{9ED6F634-23B3-B197-B5A4-3F5A43B9B37F}"/>
          </ac:spMkLst>
        </pc:spChg>
        <pc:spChg chg="mod">
          <ac:chgData name="Aurelien Domont" userId="6da7715ce44349b3" providerId="LiveId" clId="{41F0A500-E4ED-4805-8D84-F6050E0C1B79}" dt="2023-02-16T03:54:46.256" v="170" actId="12"/>
          <ac:spMkLst>
            <pc:docMk/>
            <pc:sldMk cId="481449207" sldId="2884"/>
            <ac:spMk id="45" creationId="{C40ABB58-A617-4C1D-B300-D06F0DBE43C3}"/>
          </ac:spMkLst>
        </pc:spChg>
      </pc:sldChg>
      <pc:sldChg chg="add del">
        <pc:chgData name="Aurelien Domont" userId="6da7715ce44349b3" providerId="LiveId" clId="{41F0A500-E4ED-4805-8D84-F6050E0C1B79}" dt="2023-02-16T03:25:56.855" v="73" actId="47"/>
        <pc:sldMkLst>
          <pc:docMk/>
          <pc:sldMk cId="268471700" sldId="2886"/>
        </pc:sldMkLst>
      </pc:sldChg>
      <pc:sldChg chg="add">
        <pc:chgData name="Aurelien Domont" userId="6da7715ce44349b3" providerId="LiveId" clId="{41F0A500-E4ED-4805-8D84-F6050E0C1B79}" dt="2023-02-16T03:25:58.578" v="74"/>
        <pc:sldMkLst>
          <pc:docMk/>
          <pc:sldMk cId="300020402" sldId="2886"/>
        </pc:sldMkLst>
      </pc:sldChg>
      <pc:sldChg chg="add">
        <pc:chgData name="Aurelien Domont" userId="6da7715ce44349b3" providerId="LiveId" clId="{41F0A500-E4ED-4805-8D84-F6050E0C1B79}" dt="2023-02-16T03:25:58.578" v="74"/>
        <pc:sldMkLst>
          <pc:docMk/>
          <pc:sldMk cId="268471700" sldId="2887"/>
        </pc:sldMkLst>
      </pc:sldChg>
      <pc:sldChg chg="add">
        <pc:chgData name="Aurelien Domont" userId="6da7715ce44349b3" providerId="LiveId" clId="{41F0A500-E4ED-4805-8D84-F6050E0C1B79}" dt="2023-02-16T03:54:33.788" v="161"/>
        <pc:sldMkLst>
          <pc:docMk/>
          <pc:sldMk cId="143639471" sldId="2888"/>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10/5/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10/5/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38490557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16.v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17.v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vmlDrawing" Target="../drawings/vmlDrawing24.v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vmlDrawing" Target="../drawings/vmlDrawing25.v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vmlDrawing" Target="../drawings/vmlDrawing33.v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9.xml"/><Relationship Id="rId1" Type="http://schemas.openxmlformats.org/officeDocument/2006/relationships/vmlDrawing" Target="../drawings/vmlDrawing34.v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xml"/><Relationship Id="rId1" Type="http://schemas.openxmlformats.org/officeDocument/2006/relationships/vmlDrawing" Target="../drawings/vmlDrawing35.vml"/><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8.vml"/><Relationship Id="rId6" Type="http://schemas.openxmlformats.org/officeDocument/2006/relationships/image" Target="../media/image2.emf"/><Relationship Id="rId5" Type="http://schemas.openxmlformats.org/officeDocument/2006/relationships/oleObject" Target="../embeddings/oleObject38.bin"/><Relationship Id="rId4"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41.vml"/><Relationship Id="rId6" Type="http://schemas.openxmlformats.org/officeDocument/2006/relationships/image" Target="../media/image2.emf"/><Relationship Id="rId5" Type="http://schemas.openxmlformats.org/officeDocument/2006/relationships/oleObject" Target="../embeddings/oleObject41.bin"/><Relationship Id="rId4"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xml"/><Relationship Id="rId1" Type="http://schemas.openxmlformats.org/officeDocument/2006/relationships/vmlDrawing" Target="../drawings/vmlDrawing42.vml"/><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4.xml"/><Relationship Id="rId1" Type="http://schemas.openxmlformats.org/officeDocument/2006/relationships/vmlDrawing" Target="../drawings/vmlDrawing43.vml"/><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5.xml"/><Relationship Id="rId1" Type="http://schemas.openxmlformats.org/officeDocument/2006/relationships/vmlDrawing" Target="../drawings/vmlDrawing44.vml"/><Relationship Id="rId5" Type="http://schemas.openxmlformats.org/officeDocument/2006/relationships/image" Target="../media/image2.emf"/><Relationship Id="rId4" Type="http://schemas.openxmlformats.org/officeDocument/2006/relationships/oleObject" Target="../embeddings/oleObject4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oleObject" Target="../embeddings/oleObject46.bin"/><Relationship Id="rId4"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8.xml"/><Relationship Id="rId1" Type="http://schemas.openxmlformats.org/officeDocument/2006/relationships/vmlDrawing" Target="../drawings/vmlDrawing51.vml"/><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9.xml"/><Relationship Id="rId1" Type="http://schemas.openxmlformats.org/officeDocument/2006/relationships/vmlDrawing" Target="../drawings/vmlDrawing52.vml"/><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0.xml"/><Relationship Id="rId1" Type="http://schemas.openxmlformats.org/officeDocument/2006/relationships/vmlDrawing" Target="../drawings/vmlDrawing53.vml"/><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p:custDataLst>
              <p:tags r:id="rId2"/>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 name="think-cell Slide" r:id="rId5" imgW="425" imgH="426" progId="TCLayout.ActiveDocument.1">
                  <p:embed/>
                </p:oleObj>
              </mc:Choice>
              <mc:Fallback>
                <p:oleObj name="think-cell Slide" r:id="rId5"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347208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2"/>
            </p:custDataLst>
            <p:extLst>
              <p:ext uri="{D42A27DB-BD31-4B8C-83A1-F6EECF244321}">
                <p14:modId xmlns:p14="http://schemas.microsoft.com/office/powerpoint/2010/main" val="1535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6"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E8864E-162B-40F9-9515-9BB374594B6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6733892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2"/>
            </p:custDataLst>
            <p:extLst>
              <p:ext uri="{D42A27DB-BD31-4B8C-83A1-F6EECF244321}">
                <p14:modId xmlns:p14="http://schemas.microsoft.com/office/powerpoint/2010/main" val="9529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0" name="think-cell Slide" r:id="rId5" imgW="425" imgH="426" progId="TCLayout.ActiveDocument.1">
                  <p:embed/>
                </p:oleObj>
              </mc:Choice>
              <mc:Fallback>
                <p:oleObj name="think-cell Slide" r:id="rId5"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D618E95-38CE-4566-8258-0AC0A3A1123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976720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2"/>
            </p:custDataLst>
            <p:extLst>
              <p:ext uri="{D42A27DB-BD31-4B8C-83A1-F6EECF244321}">
                <p14:modId xmlns:p14="http://schemas.microsoft.com/office/powerpoint/2010/main" val="26279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4" name="think-cell Slide" r:id="rId5" imgW="425" imgH="426" progId="TCLayout.ActiveDocument.1">
                  <p:embed/>
                </p:oleObj>
              </mc:Choice>
              <mc:Fallback>
                <p:oleObj name="think-cell Slide" r:id="rId5"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8C93F9-9505-4E39-A774-1117B8BC856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841228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2"/>
            </p:custDataLst>
            <p:extLst>
              <p:ext uri="{D42A27DB-BD31-4B8C-83A1-F6EECF244321}">
                <p14:modId xmlns:p14="http://schemas.microsoft.com/office/powerpoint/2010/main" val="317567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8"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441232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2"/>
            </p:custDataLst>
            <p:extLst>
              <p:ext uri="{D42A27DB-BD31-4B8C-83A1-F6EECF244321}">
                <p14:modId xmlns:p14="http://schemas.microsoft.com/office/powerpoint/2010/main" val="2789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2"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915045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2"/>
            </p:custDataLst>
            <p:extLst>
              <p:ext uri="{D42A27DB-BD31-4B8C-83A1-F6EECF244321}">
                <p14:modId xmlns:p14="http://schemas.microsoft.com/office/powerpoint/2010/main" val="34059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6"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9311502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2"/>
            </p:custDataLst>
            <p:extLst>
              <p:ext uri="{D42A27DB-BD31-4B8C-83A1-F6EECF244321}">
                <p14:modId xmlns:p14="http://schemas.microsoft.com/office/powerpoint/2010/main" val="73635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4" name="think-cell Slide" r:id="rId5" imgW="425" imgH="426" progId="TCLayout.ActiveDocument.1">
                  <p:embed/>
                </p:oleObj>
              </mc:Choice>
              <mc:Fallback>
                <p:oleObj name="think-cell Slide" r:id="rId5"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C7A3A3-6E96-4AA0-A49C-A1F160EFD2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430465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2"/>
            </p:custDataLst>
            <p:extLst>
              <p:ext uri="{D42A27DB-BD31-4B8C-83A1-F6EECF244321}">
                <p14:modId xmlns:p14="http://schemas.microsoft.com/office/powerpoint/2010/main" val="162327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8"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08AD5E-D75E-4A5B-B857-E7CC9DAD924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9715991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2"/>
            </p:custDataLst>
            <p:extLst>
              <p:ext uri="{D42A27DB-BD31-4B8C-83A1-F6EECF244321}">
                <p14:modId xmlns:p14="http://schemas.microsoft.com/office/powerpoint/2010/main" val="19012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2"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7E5BF0-5196-473F-B84C-EE7FCA017F2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40412520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FD45E-71ED-43B0-8AE7-C08D3A4C2ADD}"/>
              </a:ext>
            </a:extLst>
          </p:cNvPr>
          <p:cNvGraphicFramePr>
            <a:graphicFrameLocks noChangeAspect="1"/>
          </p:cNvGraphicFramePr>
          <p:nvPr>
            <p:custDataLst>
              <p:tags r:id="rId2"/>
            </p:custDataLst>
            <p:extLst>
              <p:ext uri="{D42A27DB-BD31-4B8C-83A1-F6EECF244321}">
                <p14:modId xmlns:p14="http://schemas.microsoft.com/office/powerpoint/2010/main" val="190614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6" name="think-cell Slide" r:id="rId5" imgW="425" imgH="426" progId="TCLayout.ActiveDocument.1">
                  <p:embed/>
                </p:oleObj>
              </mc:Choice>
              <mc:Fallback>
                <p:oleObj name="think-cell Slide" r:id="rId5" imgW="425" imgH="426" progId="TCLayout.ActiveDocument.1">
                  <p:embed/>
                  <p:pic>
                    <p:nvPicPr>
                      <p:cNvPr id="4" name="Object 3" hidden="1">
                        <a:extLst>
                          <a:ext uri="{FF2B5EF4-FFF2-40B4-BE49-F238E27FC236}">
                            <a16:creationId xmlns:a16="http://schemas.microsoft.com/office/drawing/2014/main" id="{803FD45E-71ED-43B0-8AE7-C08D3A4C2A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D971712-BE3F-4E1C-AB2E-A371CC7DD38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750055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p:custDataLst>
              <p:tags r:id="rId2"/>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35722589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A1D2D6-5C0E-4C96-B1D6-EDE7E84FB758}"/>
              </a:ext>
            </a:extLst>
          </p:cNvPr>
          <p:cNvGraphicFramePr>
            <a:graphicFrameLocks noChangeAspect="1"/>
          </p:cNvGraphicFramePr>
          <p:nvPr>
            <p:custDataLst>
              <p:tags r:id="rId2"/>
            </p:custDataLst>
            <p:extLst>
              <p:ext uri="{D42A27DB-BD31-4B8C-83A1-F6EECF244321}">
                <p14:modId xmlns:p14="http://schemas.microsoft.com/office/powerpoint/2010/main" val="272178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0" name="think-cell Slide" r:id="rId5" imgW="425" imgH="426" progId="TCLayout.ActiveDocument.1">
                  <p:embed/>
                </p:oleObj>
              </mc:Choice>
              <mc:Fallback>
                <p:oleObj name="think-cell Slide" r:id="rId5" imgW="425" imgH="426" progId="TCLayout.ActiveDocument.1">
                  <p:embed/>
                  <p:pic>
                    <p:nvPicPr>
                      <p:cNvPr id="4" name="Object 3" hidden="1">
                        <a:extLst>
                          <a:ext uri="{FF2B5EF4-FFF2-40B4-BE49-F238E27FC236}">
                            <a16:creationId xmlns:a16="http://schemas.microsoft.com/office/drawing/2014/main" id="{31A1D2D6-5C0E-4C96-B1D6-EDE7E84FB7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616CAA-EC2D-4FA1-9158-BA98D4D9301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913456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FD641D-BB7B-469F-816A-DFA22DF811DF}"/>
              </a:ext>
            </a:extLst>
          </p:cNvPr>
          <p:cNvGraphicFramePr>
            <a:graphicFrameLocks noChangeAspect="1"/>
          </p:cNvGraphicFramePr>
          <p:nvPr>
            <p:custDataLst>
              <p:tags r:id="rId2"/>
            </p:custDataLst>
            <p:extLst>
              <p:ext uri="{D42A27DB-BD31-4B8C-83A1-F6EECF244321}">
                <p14:modId xmlns:p14="http://schemas.microsoft.com/office/powerpoint/2010/main" val="1319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4"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AFFD641D-BB7B-469F-816A-DFA22DF811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664035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57718-4357-4914-80E6-3B747C6008CD}"/>
              </a:ext>
            </a:extLst>
          </p:cNvPr>
          <p:cNvGraphicFramePr>
            <a:graphicFrameLocks noChangeAspect="1"/>
          </p:cNvGraphicFramePr>
          <p:nvPr>
            <p:custDataLst>
              <p:tags r:id="rId2"/>
            </p:custDataLst>
            <p:extLst>
              <p:ext uri="{D42A27DB-BD31-4B8C-83A1-F6EECF244321}">
                <p14:modId xmlns:p14="http://schemas.microsoft.com/office/powerpoint/2010/main" val="329663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8"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C1B57718-4357-4914-80E6-3B747C6008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158659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751107-3CDE-4232-A9E3-A96F072D3B64}"/>
              </a:ext>
            </a:extLst>
          </p:cNvPr>
          <p:cNvGraphicFramePr>
            <a:graphicFrameLocks noChangeAspect="1"/>
          </p:cNvGraphicFramePr>
          <p:nvPr>
            <p:custDataLst>
              <p:tags r:id="rId2"/>
            </p:custDataLst>
            <p:extLst>
              <p:ext uri="{D42A27DB-BD31-4B8C-83A1-F6EECF244321}">
                <p14:modId xmlns:p14="http://schemas.microsoft.com/office/powerpoint/2010/main" val="170488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2"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22751107-3CDE-4232-A9E3-A96F072D3B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11258791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A80A56-F2B8-4233-B98E-991B9849D512}"/>
              </a:ext>
            </a:extLst>
          </p:cNvPr>
          <p:cNvGraphicFramePr>
            <a:graphicFrameLocks noChangeAspect="1"/>
          </p:cNvGraphicFramePr>
          <p:nvPr>
            <p:custDataLst>
              <p:tags r:id="rId2"/>
            </p:custDataLst>
            <p:extLst>
              <p:ext uri="{D42A27DB-BD31-4B8C-83A1-F6EECF244321}">
                <p14:modId xmlns:p14="http://schemas.microsoft.com/office/powerpoint/2010/main" val="3730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0" name="think-cell Slide" r:id="rId5" imgW="425" imgH="426" progId="TCLayout.ActiveDocument.1">
                  <p:embed/>
                </p:oleObj>
              </mc:Choice>
              <mc:Fallback>
                <p:oleObj name="think-cell Slide" r:id="rId5" imgW="425" imgH="426" progId="TCLayout.ActiveDocument.1">
                  <p:embed/>
                  <p:pic>
                    <p:nvPicPr>
                      <p:cNvPr id="6" name="Object 5" hidden="1">
                        <a:extLst>
                          <a:ext uri="{FF2B5EF4-FFF2-40B4-BE49-F238E27FC236}">
                            <a16:creationId xmlns:a16="http://schemas.microsoft.com/office/drawing/2014/main" id="{A5A80A56-F2B8-4233-B98E-991B9849D5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F9E7F-00A7-443B-A8BD-D6DD49F766C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453023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69E61E-D2FE-4570-9EBE-E865ACCB537C}"/>
              </a:ext>
            </a:extLst>
          </p:cNvPr>
          <p:cNvGraphicFramePr>
            <a:graphicFrameLocks noChangeAspect="1"/>
          </p:cNvGraphicFramePr>
          <p:nvPr>
            <p:custDataLst>
              <p:tags r:id="rId2"/>
            </p:custDataLst>
            <p:extLst>
              <p:ext uri="{D42A27DB-BD31-4B8C-83A1-F6EECF244321}">
                <p14:modId xmlns:p14="http://schemas.microsoft.com/office/powerpoint/2010/main" val="96440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4"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7E69E61E-D2FE-4570-9EBE-E865ACCB53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7B18B3-B399-4EBD-B41A-54B80DC4869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541470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2"/>
            </p:custDataLst>
            <p:extLst>
              <p:ext uri="{D42A27DB-BD31-4B8C-83A1-F6EECF244321}">
                <p14:modId xmlns:p14="http://schemas.microsoft.com/office/powerpoint/2010/main" val="11002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8"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318CD32-CC64-4768-B5C2-06F7D33E18E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914774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D6934F-8C9A-40B8-AA76-2797BABA31C2}"/>
              </a:ext>
            </a:extLst>
          </p:cNvPr>
          <p:cNvGraphicFramePr>
            <a:graphicFrameLocks noChangeAspect="1"/>
          </p:cNvGraphicFramePr>
          <p:nvPr>
            <p:custDataLst>
              <p:tags r:id="rId2"/>
            </p:custDataLst>
            <p:extLst>
              <p:ext uri="{D42A27DB-BD31-4B8C-83A1-F6EECF244321}">
                <p14:modId xmlns:p14="http://schemas.microsoft.com/office/powerpoint/2010/main" val="285440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2" name="think-cell Slide" r:id="rId5" imgW="425" imgH="426" progId="TCLayout.ActiveDocument.1">
                  <p:embed/>
                </p:oleObj>
              </mc:Choice>
              <mc:Fallback>
                <p:oleObj name="think-cell Slide" r:id="rId5" imgW="425" imgH="426" progId="TCLayout.ActiveDocument.1">
                  <p:embed/>
                  <p:pic>
                    <p:nvPicPr>
                      <p:cNvPr id="4" name="Object 3" hidden="1">
                        <a:extLst>
                          <a:ext uri="{FF2B5EF4-FFF2-40B4-BE49-F238E27FC236}">
                            <a16:creationId xmlns:a16="http://schemas.microsoft.com/office/drawing/2014/main" id="{E9D6934F-8C9A-40B8-AA76-2797BABA31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D60E-6653-48F7-A274-5BACC65945B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723752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187F02-3C90-44EA-809A-294D7412CCFA}"/>
              </a:ext>
            </a:extLst>
          </p:cNvPr>
          <p:cNvGraphicFramePr>
            <a:graphicFrameLocks noChangeAspect="1"/>
          </p:cNvGraphicFramePr>
          <p:nvPr>
            <p:custDataLst>
              <p:tags r:id="rId2"/>
            </p:custDataLst>
            <p:extLst>
              <p:ext uri="{D42A27DB-BD31-4B8C-83A1-F6EECF244321}">
                <p14:modId xmlns:p14="http://schemas.microsoft.com/office/powerpoint/2010/main" val="1888062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6" name="think-cell Slide" r:id="rId5" imgW="425" imgH="426" progId="TCLayout.ActiveDocument.1">
                  <p:embed/>
                </p:oleObj>
              </mc:Choice>
              <mc:Fallback>
                <p:oleObj name="think-cell Slide" r:id="rId5" imgW="425" imgH="426" progId="TCLayout.ActiveDocument.1">
                  <p:embed/>
                  <p:pic>
                    <p:nvPicPr>
                      <p:cNvPr id="4" name="Object 3" hidden="1">
                        <a:extLst>
                          <a:ext uri="{FF2B5EF4-FFF2-40B4-BE49-F238E27FC236}">
                            <a16:creationId xmlns:a16="http://schemas.microsoft.com/office/drawing/2014/main" id="{2D187F02-3C90-44EA-809A-294D7412CC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4E0BE9-D042-41EB-89B4-E156B1EDEA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77059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8FF16-F396-46B0-B76B-3DE885687FAF}"/>
              </a:ext>
            </a:extLst>
          </p:cNvPr>
          <p:cNvGraphicFramePr>
            <a:graphicFrameLocks noChangeAspect="1"/>
          </p:cNvGraphicFramePr>
          <p:nvPr>
            <p:custDataLst>
              <p:tags r:id="rId2"/>
            </p:custDataLst>
            <p:extLst>
              <p:ext uri="{D42A27DB-BD31-4B8C-83A1-F6EECF244321}">
                <p14:modId xmlns:p14="http://schemas.microsoft.com/office/powerpoint/2010/main" val="1343220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0"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E078FF16-F396-46B0-B76B-3DE885687F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71465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2"/>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4"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vert="horz" lIns="91440" tIns="0" rIns="0" bIns="45720" rtlCol="0" anchor="ctr"/>
          <a:lstStyle>
            <a:lvl1pPr>
              <a:defRPr lang="en-US" sz="1000" smtClean="0">
                <a:solidFill>
                  <a:srgbClr val="ADAFBB"/>
                </a:solidFill>
              </a:defRPr>
            </a:lvl1pPr>
          </a:lstStyle>
          <a:p>
            <a:fld id="{37F5C94B-8C55-478B-B509-BAE6A06B2E2A}" type="slidenum">
              <a:rPr lang="en-IN" smtClean="0"/>
              <a:pPr/>
              <a:t>‹#›</a:t>
            </a:fld>
            <a:endParaRPr lang="en-IN" dirty="0"/>
          </a:p>
        </p:txBody>
      </p:sp>
    </p:spTree>
    <p:extLst>
      <p:ext uri="{BB962C8B-B14F-4D97-AF65-F5344CB8AC3E}">
        <p14:creationId xmlns:p14="http://schemas.microsoft.com/office/powerpoint/2010/main" val="18701623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CEDF0F-9090-417B-A721-862C9C8A2B9A}"/>
              </a:ext>
            </a:extLst>
          </p:cNvPr>
          <p:cNvGraphicFramePr>
            <a:graphicFrameLocks noChangeAspect="1"/>
          </p:cNvGraphicFramePr>
          <p:nvPr>
            <p:custDataLst>
              <p:tags r:id="rId2"/>
            </p:custDataLst>
            <p:extLst>
              <p:ext uri="{D42A27DB-BD31-4B8C-83A1-F6EECF244321}">
                <p14:modId xmlns:p14="http://schemas.microsoft.com/office/powerpoint/2010/main" val="346214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4"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06CEDF0F-9090-417B-A721-862C9C8A2B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437071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4A5886-2DEB-405E-8AE4-F1A2D2405C12}"/>
              </a:ext>
            </a:extLst>
          </p:cNvPr>
          <p:cNvGraphicFramePr>
            <a:graphicFrameLocks noChangeAspect="1"/>
          </p:cNvGraphicFramePr>
          <p:nvPr>
            <p:custDataLst>
              <p:tags r:id="rId2"/>
            </p:custDataLst>
            <p:extLst>
              <p:ext uri="{D42A27DB-BD31-4B8C-83A1-F6EECF244321}">
                <p14:modId xmlns:p14="http://schemas.microsoft.com/office/powerpoint/2010/main" val="163338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8"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884A5886-2DEB-405E-8AE4-F1A2D2405C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28727584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1A9B1-3614-4265-92AD-E4A55B124BD9}"/>
              </a:ext>
            </a:extLst>
          </p:cNvPr>
          <p:cNvGraphicFramePr>
            <a:graphicFrameLocks noChangeAspect="1"/>
          </p:cNvGraphicFramePr>
          <p:nvPr>
            <p:custDataLst>
              <p:tags r:id="rId2"/>
            </p:custDataLst>
            <p:extLst>
              <p:ext uri="{D42A27DB-BD31-4B8C-83A1-F6EECF244321}">
                <p14:modId xmlns:p14="http://schemas.microsoft.com/office/powerpoint/2010/main" val="3415463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6" name="think-cell Slide" r:id="rId5" imgW="425" imgH="426" progId="TCLayout.ActiveDocument.1">
                  <p:embed/>
                </p:oleObj>
              </mc:Choice>
              <mc:Fallback>
                <p:oleObj name="think-cell Slide" r:id="rId5" imgW="425" imgH="426" progId="TCLayout.ActiveDocument.1">
                  <p:embed/>
                  <p:pic>
                    <p:nvPicPr>
                      <p:cNvPr id="6" name="Object 5" hidden="1">
                        <a:extLst>
                          <a:ext uri="{FF2B5EF4-FFF2-40B4-BE49-F238E27FC236}">
                            <a16:creationId xmlns:a16="http://schemas.microsoft.com/office/drawing/2014/main" id="{1E31A9B1-3614-4265-92AD-E4A55B124B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8BA310-1AB9-4912-9FCC-5CB57AFBF68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280009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FCD1A4-A534-4A39-8F67-745C3B0F56E6}"/>
              </a:ext>
            </a:extLst>
          </p:cNvPr>
          <p:cNvGraphicFramePr>
            <a:graphicFrameLocks noChangeAspect="1"/>
          </p:cNvGraphicFramePr>
          <p:nvPr>
            <p:custDataLst>
              <p:tags r:id="rId2"/>
            </p:custDataLst>
            <p:extLst>
              <p:ext uri="{D42A27DB-BD31-4B8C-83A1-F6EECF244321}">
                <p14:modId xmlns:p14="http://schemas.microsoft.com/office/powerpoint/2010/main" val="1091641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0"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38FCD1A4-A534-4A39-8F67-745C3B0F56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D0182-8D62-4553-861A-6C3EE1A008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065983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2"/>
            </p:custDataLst>
            <p:extLst>
              <p:ext uri="{D42A27DB-BD31-4B8C-83A1-F6EECF244321}">
                <p14:modId xmlns:p14="http://schemas.microsoft.com/office/powerpoint/2010/main" val="28731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4"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401EDD9-4356-4D92-BFA6-18D14C3583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763550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066462-B21E-42BA-9849-0189692B0711}"/>
              </a:ext>
            </a:extLst>
          </p:cNvPr>
          <p:cNvGraphicFramePr>
            <a:graphicFrameLocks noChangeAspect="1"/>
          </p:cNvGraphicFramePr>
          <p:nvPr>
            <p:custDataLst>
              <p:tags r:id="rId2"/>
            </p:custDataLst>
            <p:extLst>
              <p:ext uri="{D42A27DB-BD31-4B8C-83A1-F6EECF244321}">
                <p14:modId xmlns:p14="http://schemas.microsoft.com/office/powerpoint/2010/main" val="414995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8" name="think-cell Slide" r:id="rId5" imgW="425" imgH="426" progId="TCLayout.ActiveDocument.1">
                  <p:embed/>
                </p:oleObj>
              </mc:Choice>
              <mc:Fallback>
                <p:oleObj name="think-cell Slide" r:id="rId5" imgW="425" imgH="426" progId="TCLayout.ActiveDocument.1">
                  <p:embed/>
                  <p:pic>
                    <p:nvPicPr>
                      <p:cNvPr id="4" name="Object 3" hidden="1">
                        <a:extLst>
                          <a:ext uri="{FF2B5EF4-FFF2-40B4-BE49-F238E27FC236}">
                            <a16:creationId xmlns:a16="http://schemas.microsoft.com/office/drawing/2014/main" id="{78066462-B21E-42BA-9849-0189692B07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98D13-FDB6-4894-B6DB-513BCEF6B98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709760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AEA052-D836-403B-9728-34A25E9C2C2A}"/>
              </a:ext>
            </a:extLst>
          </p:cNvPr>
          <p:cNvGraphicFramePr>
            <a:graphicFrameLocks noChangeAspect="1"/>
          </p:cNvGraphicFramePr>
          <p:nvPr>
            <p:custDataLst>
              <p:tags r:id="rId2"/>
            </p:custDataLst>
            <p:extLst>
              <p:ext uri="{D42A27DB-BD31-4B8C-83A1-F6EECF244321}">
                <p14:modId xmlns:p14="http://schemas.microsoft.com/office/powerpoint/2010/main" val="1193652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2" name="think-cell Slide" r:id="rId5" imgW="425" imgH="426" progId="TCLayout.ActiveDocument.1">
                  <p:embed/>
                </p:oleObj>
              </mc:Choice>
              <mc:Fallback>
                <p:oleObj name="think-cell Slide" r:id="rId5" imgW="425" imgH="426" progId="TCLayout.ActiveDocument.1">
                  <p:embed/>
                  <p:pic>
                    <p:nvPicPr>
                      <p:cNvPr id="4" name="Object 3" hidden="1">
                        <a:extLst>
                          <a:ext uri="{FF2B5EF4-FFF2-40B4-BE49-F238E27FC236}">
                            <a16:creationId xmlns:a16="http://schemas.microsoft.com/office/drawing/2014/main" id="{07AEA052-D836-403B-9728-34A25E9C2C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76B91E-4B9A-4BDD-AF07-38C087D034E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373965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C10801-724F-4C7C-B183-9B7C55022B42}"/>
              </a:ext>
            </a:extLst>
          </p:cNvPr>
          <p:cNvGraphicFramePr>
            <a:graphicFrameLocks noChangeAspect="1"/>
          </p:cNvGraphicFramePr>
          <p:nvPr>
            <p:custDataLst>
              <p:tags r:id="rId2"/>
            </p:custDataLst>
            <p:extLst>
              <p:ext uri="{D42A27DB-BD31-4B8C-83A1-F6EECF244321}">
                <p14:modId xmlns:p14="http://schemas.microsoft.com/office/powerpoint/2010/main" val="260455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6"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4EC10801-724F-4C7C-B183-9B7C55022B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28559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A17C64-B08B-47A8-A33B-EB28C23C62CE}"/>
              </a:ext>
            </a:extLst>
          </p:cNvPr>
          <p:cNvGraphicFramePr>
            <a:graphicFrameLocks noChangeAspect="1"/>
          </p:cNvGraphicFramePr>
          <p:nvPr>
            <p:custDataLst>
              <p:tags r:id="rId2"/>
            </p:custDataLst>
            <p:extLst>
              <p:ext uri="{D42A27DB-BD31-4B8C-83A1-F6EECF244321}">
                <p14:modId xmlns:p14="http://schemas.microsoft.com/office/powerpoint/2010/main" val="17489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0"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63A17C64-B08B-47A8-A33B-EB28C23C62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696374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B6336B-9556-4AD2-BB4C-BEE8752B0EEA}"/>
              </a:ext>
            </a:extLst>
          </p:cNvPr>
          <p:cNvGraphicFramePr>
            <a:graphicFrameLocks noChangeAspect="1"/>
          </p:cNvGraphicFramePr>
          <p:nvPr>
            <p:custDataLst>
              <p:tags r:id="rId2"/>
            </p:custDataLst>
            <p:extLst>
              <p:ext uri="{D42A27DB-BD31-4B8C-83A1-F6EECF244321}">
                <p14:modId xmlns:p14="http://schemas.microsoft.com/office/powerpoint/2010/main" val="65225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4"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0AB6336B-9556-4AD2-BB4C-BEE8752B0E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9468744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337E5-F939-452A-8B9D-AD5B5CAF188C}"/>
              </a:ext>
            </a:extLst>
          </p:cNvPr>
          <p:cNvGraphicFramePr>
            <a:graphicFrameLocks noChangeAspect="1"/>
          </p:cNvGraphicFramePr>
          <p:nvPr>
            <p:custDataLst>
              <p:tags r:id="rId2"/>
            </p:custDataLst>
            <p:extLst>
              <p:ext uri="{D42A27DB-BD31-4B8C-83A1-F6EECF244321}">
                <p14:modId xmlns:p14="http://schemas.microsoft.com/office/powerpoint/2010/main" val="71296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8" name="think-cell Slide" r:id="rId5" imgW="425" imgH="426" progId="TCLayout.ActiveDocument.1">
                  <p:embed/>
                </p:oleObj>
              </mc:Choice>
              <mc:Fallback>
                <p:oleObj name="think-cell Slide" r:id="rId5" imgW="425" imgH="426" progId="TCLayout.ActiveDocument.1">
                  <p:embed/>
                  <p:pic>
                    <p:nvPicPr>
                      <p:cNvPr id="4" name="Object 3" hidden="1">
                        <a:extLst>
                          <a:ext uri="{FF2B5EF4-FFF2-40B4-BE49-F238E27FC236}">
                            <a16:creationId xmlns:a16="http://schemas.microsoft.com/office/drawing/2014/main" id="{C33337E5-F939-452A-8B9D-AD5B5CAF18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E513CA-7CE5-4930-A743-60B6C3068A8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590499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D4B2B-88C5-45AF-A5C1-78C797AD6EAC}"/>
              </a:ext>
            </a:extLst>
          </p:cNvPr>
          <p:cNvGraphicFramePr>
            <a:graphicFrameLocks noChangeAspect="1"/>
          </p:cNvGraphicFramePr>
          <p:nvPr>
            <p:custDataLst>
              <p:tags r:id="rId2"/>
            </p:custDataLst>
            <p:extLst>
              <p:ext uri="{D42A27DB-BD31-4B8C-83A1-F6EECF244321}">
                <p14:modId xmlns:p14="http://schemas.microsoft.com/office/powerpoint/2010/main" val="13382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2" name="think-cell Slide" r:id="rId5" imgW="425" imgH="426" progId="TCLayout.ActiveDocument.1">
                  <p:embed/>
                </p:oleObj>
              </mc:Choice>
              <mc:Fallback>
                <p:oleObj name="think-cell Slide" r:id="rId5" imgW="425" imgH="426" progId="TCLayout.ActiveDocument.1">
                  <p:embed/>
                  <p:pic>
                    <p:nvPicPr>
                      <p:cNvPr id="6" name="Object 5" hidden="1">
                        <a:extLst>
                          <a:ext uri="{FF2B5EF4-FFF2-40B4-BE49-F238E27FC236}">
                            <a16:creationId xmlns:a16="http://schemas.microsoft.com/office/drawing/2014/main" id="{60ED4B2B-88C5-45AF-A5C1-78C797AD6E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D61E65-8E69-4519-8B63-721B7117E88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6686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109269-4FFF-4EB1-A58A-7B8FDC8BE5AF}"/>
              </a:ext>
            </a:extLst>
          </p:cNvPr>
          <p:cNvGraphicFramePr>
            <a:graphicFrameLocks noChangeAspect="1"/>
          </p:cNvGraphicFramePr>
          <p:nvPr>
            <p:custDataLst>
              <p:tags r:id="rId2"/>
            </p:custDataLst>
            <p:extLst>
              <p:ext uri="{D42A27DB-BD31-4B8C-83A1-F6EECF244321}">
                <p14:modId xmlns:p14="http://schemas.microsoft.com/office/powerpoint/2010/main" val="964659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6"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23109269-4FFF-4EB1-A58A-7B8FDC8BE5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D64B3F-295A-4A28-BC11-808C7B0F573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001070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2"/>
            </p:custDataLst>
            <p:extLst>
              <p:ext uri="{D42A27DB-BD31-4B8C-83A1-F6EECF244321}">
                <p14:modId xmlns:p14="http://schemas.microsoft.com/office/powerpoint/2010/main" val="88790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0"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9BFA63-CD65-430C-A3EC-015E8DDF7F1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644801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F6200-8DF7-455A-B41B-E8A921FCF807}"/>
              </a:ext>
            </a:extLst>
          </p:cNvPr>
          <p:cNvGraphicFramePr>
            <a:graphicFrameLocks noChangeAspect="1"/>
          </p:cNvGraphicFramePr>
          <p:nvPr>
            <p:custDataLst>
              <p:tags r:id="rId2"/>
            </p:custDataLst>
            <p:extLst>
              <p:ext uri="{D42A27DB-BD31-4B8C-83A1-F6EECF244321}">
                <p14:modId xmlns:p14="http://schemas.microsoft.com/office/powerpoint/2010/main" val="23839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4" name="think-cell Slide" r:id="rId5" imgW="425" imgH="426" progId="TCLayout.ActiveDocument.1">
                  <p:embed/>
                </p:oleObj>
              </mc:Choice>
              <mc:Fallback>
                <p:oleObj name="think-cell Slide" r:id="rId5" imgW="425" imgH="426" progId="TCLayout.ActiveDocument.1">
                  <p:embed/>
                  <p:pic>
                    <p:nvPicPr>
                      <p:cNvPr id="4" name="Object 3" hidden="1">
                        <a:extLst>
                          <a:ext uri="{FF2B5EF4-FFF2-40B4-BE49-F238E27FC236}">
                            <a16:creationId xmlns:a16="http://schemas.microsoft.com/office/drawing/2014/main" id="{A16F6200-8DF7-455A-B41B-E8A921FCF80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6FCB3B-15D5-42F2-9818-7ACE52AE84A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736269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1F9D8D-77DA-48B3-9BC0-FC14D3AB6300}"/>
              </a:ext>
            </a:extLst>
          </p:cNvPr>
          <p:cNvGraphicFramePr>
            <a:graphicFrameLocks noChangeAspect="1"/>
          </p:cNvGraphicFramePr>
          <p:nvPr>
            <p:custDataLst>
              <p:tags r:id="rId2"/>
            </p:custDataLst>
            <p:extLst>
              <p:ext uri="{D42A27DB-BD31-4B8C-83A1-F6EECF244321}">
                <p14:modId xmlns:p14="http://schemas.microsoft.com/office/powerpoint/2010/main" val="30683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8" name="think-cell Slide" r:id="rId5" imgW="425" imgH="426" progId="TCLayout.ActiveDocument.1">
                  <p:embed/>
                </p:oleObj>
              </mc:Choice>
              <mc:Fallback>
                <p:oleObj name="think-cell Slide" r:id="rId5" imgW="425" imgH="426" progId="TCLayout.ActiveDocument.1">
                  <p:embed/>
                  <p:pic>
                    <p:nvPicPr>
                      <p:cNvPr id="4" name="Object 3" hidden="1">
                        <a:extLst>
                          <a:ext uri="{FF2B5EF4-FFF2-40B4-BE49-F238E27FC236}">
                            <a16:creationId xmlns:a16="http://schemas.microsoft.com/office/drawing/2014/main" id="{2B1F9D8D-77DA-48B3-9BC0-FC14D3AB63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08C4684-AF30-4F89-B5B0-EA4C6662389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432862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8600AB-D0BD-4835-B978-ED5D266B1F6D}"/>
              </a:ext>
            </a:extLst>
          </p:cNvPr>
          <p:cNvGraphicFramePr>
            <a:graphicFrameLocks noChangeAspect="1"/>
          </p:cNvGraphicFramePr>
          <p:nvPr>
            <p:custDataLst>
              <p:tags r:id="rId2"/>
            </p:custDataLst>
            <p:extLst>
              <p:ext uri="{D42A27DB-BD31-4B8C-83A1-F6EECF244321}">
                <p14:modId xmlns:p14="http://schemas.microsoft.com/office/powerpoint/2010/main" val="428747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2"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B78600AB-D0BD-4835-B978-ED5D266B1F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12136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DD7381-50BA-41E9-84D9-A4163E043F98}"/>
              </a:ext>
            </a:extLst>
          </p:cNvPr>
          <p:cNvGraphicFramePr>
            <a:graphicFrameLocks noChangeAspect="1"/>
          </p:cNvGraphicFramePr>
          <p:nvPr>
            <p:custDataLst>
              <p:tags r:id="rId2"/>
            </p:custDataLst>
            <p:extLst>
              <p:ext uri="{D42A27DB-BD31-4B8C-83A1-F6EECF244321}">
                <p14:modId xmlns:p14="http://schemas.microsoft.com/office/powerpoint/2010/main" val="177648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6"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DD7381-50BA-41E9-84D9-A4163E043F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637796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9909C-44BE-4347-ADAE-5582FF871A6D}"/>
              </a:ext>
            </a:extLst>
          </p:cNvPr>
          <p:cNvGraphicFramePr>
            <a:graphicFrameLocks noChangeAspect="1"/>
          </p:cNvGraphicFramePr>
          <p:nvPr>
            <p:custDataLst>
              <p:tags r:id="rId2"/>
            </p:custDataLst>
            <p:extLst>
              <p:ext uri="{D42A27DB-BD31-4B8C-83A1-F6EECF244321}">
                <p14:modId xmlns:p14="http://schemas.microsoft.com/office/powerpoint/2010/main" val="111106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0"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0DD9909C-44BE-4347-ADAE-5582FF871A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2477528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399043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8760259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p:custDataLst>
              <p:tags r:id="rId2"/>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2" name="think-cell Slide" r:id="rId5" imgW="425" imgH="426" progId="TCLayout.ActiveDocument.1">
                  <p:embed/>
                </p:oleObj>
              </mc:Choice>
              <mc:Fallback>
                <p:oleObj name="think-cell Slide" r:id="rId5"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767215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2"/>
            </p:custDataLst>
            <p:extLst>
              <p:ext uri="{D42A27DB-BD31-4B8C-83A1-F6EECF244321}">
                <p14:modId xmlns:p14="http://schemas.microsoft.com/office/powerpoint/2010/main" val="222025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8"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0729062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152779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3450967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731495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728168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7367523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7869727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1806145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2"/>
            </p:custDataLst>
            <p:extLst>
              <p:ext uri="{D42A27DB-BD31-4B8C-83A1-F6EECF244321}">
                <p14:modId xmlns:p14="http://schemas.microsoft.com/office/powerpoint/2010/main" val="221937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6"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7730054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264535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2A8FC1-56C6-4CB8-844A-929652805622}"/>
              </a:ext>
            </a:extLst>
          </p:cNvPr>
          <p:cNvGraphicFramePr>
            <a:graphicFrameLocks noChangeAspect="1"/>
          </p:cNvGraphicFramePr>
          <p:nvPr>
            <p:custDataLst>
              <p:tags r:id="rId2"/>
            </p:custDataLst>
            <p:extLst>
              <p:ext uri="{D42A27DB-BD31-4B8C-83A1-F6EECF244321}">
                <p14:modId xmlns:p14="http://schemas.microsoft.com/office/powerpoint/2010/main" val="411288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6"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522A8FC1-56C6-4CB8-844A-9296528056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168856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715221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3418689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28690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34977800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1685935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1553313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p:custDataLst>
              <p:tags r:id="rId2"/>
            </p:custDataLst>
            <p:extLst>
              <p:ext uri="{D42A27DB-BD31-4B8C-83A1-F6EECF244321}">
                <p14:modId xmlns:p14="http://schemas.microsoft.com/office/powerpoint/2010/main" val="3346536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4"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ABDE05-52B6-4020-83AF-9DE428B90CD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lang="en-US" sz="1000" smtClean="0"/>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3788496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3. Title and Content - 2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0" name="Text Placeholder 2">
            <a:extLst>
              <a:ext uri="{FF2B5EF4-FFF2-40B4-BE49-F238E27FC236}">
                <a16:creationId xmlns:a16="http://schemas.microsoft.com/office/drawing/2014/main" id="{9BD46A8E-2282-481E-805B-F52C540B44F3}"/>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048512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3. Title and Content - 4 Text Box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2308299C-867E-46E3-B3ED-C7BC9AE8AFD5}"/>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62903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Grey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3" name="Rectangle 2">
            <a:extLst>
              <a:ext uri="{FF2B5EF4-FFF2-40B4-BE49-F238E27FC236}">
                <a16:creationId xmlns:a16="http://schemas.microsoft.com/office/drawing/2014/main" id="{46581E90-3C1B-461F-9D28-F6F0F961CAE6}"/>
              </a:ext>
            </a:extLst>
          </p:cNvPr>
          <p:cNvSpPr/>
          <p:nvPr/>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654267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F3D51A-DDA6-4B22-933D-3CF618BD4385}"/>
              </a:ext>
            </a:extLst>
          </p:cNvPr>
          <p:cNvGraphicFramePr>
            <a:graphicFrameLocks noChangeAspect="1"/>
          </p:cNvGraphicFramePr>
          <p:nvPr>
            <p:custDataLst>
              <p:tags r:id="rId2"/>
            </p:custDataLst>
            <p:extLst>
              <p:ext uri="{D42A27DB-BD31-4B8C-83A1-F6EECF244321}">
                <p14:modId xmlns:p14="http://schemas.microsoft.com/office/powerpoint/2010/main" val="177660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0"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CEF3D51A-DDA6-4B22-933D-3CF618BD43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91963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White Blank">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2" name="Rectangle 1">
            <a:extLst>
              <a:ext uri="{FF2B5EF4-FFF2-40B4-BE49-F238E27FC236}">
                <a16:creationId xmlns:a16="http://schemas.microsoft.com/office/drawing/2014/main" id="{FE80BD45-A4DC-46B7-BC4B-D2492DFA32F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545985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extBox 4"/>
          <p:cNvSpPr txBox="1"/>
          <p:nvPr/>
        </p:nvSpPr>
        <p:spPr>
          <a:xfrm>
            <a:off x="398189" y="6553224"/>
            <a:ext cx="562708" cy="123111"/>
          </a:xfrm>
          <a:prstGeom prst="rect">
            <a:avLst/>
          </a:prstGeom>
          <a:noFill/>
        </p:spPr>
        <p:txBody>
          <a:bodyPr wrap="square" lIns="0" tIns="0" rIns="0" bIns="0" rtlCol="0">
            <a:spAutoFit/>
          </a:bodyPr>
          <a:lstStyle/>
          <a:p>
            <a:pPr fontAlgn="base">
              <a:spcBef>
                <a:spcPct val="0"/>
              </a:spcBef>
              <a:spcAft>
                <a:spcPct val="0"/>
              </a:spcAft>
            </a:pPr>
            <a:fld id="{04D59692-9C01-496D-8A3D-EDFAC4E8A8B9}" type="slidenum">
              <a:rPr lang="en-US" sz="800">
                <a:solidFill>
                  <a:srgbClr val="AFB1B4"/>
                </a:solidFill>
                <a:cs typeface="Arial" charset="0"/>
              </a:rPr>
              <a:pPr fontAlgn="base">
                <a:spcBef>
                  <a:spcPct val="0"/>
                </a:spcBef>
                <a:spcAft>
                  <a:spcPct val="0"/>
                </a:spcAft>
              </a:pPr>
              <a:t>‹#›</a:t>
            </a:fld>
            <a:endParaRPr lang="en-US" sz="800" dirty="0">
              <a:solidFill>
                <a:srgbClr val="AFB1B4"/>
              </a:solidFill>
              <a:cs typeface="Arial" charset="0"/>
            </a:endParaRPr>
          </a:p>
        </p:txBody>
      </p:sp>
    </p:spTree>
    <p:extLst>
      <p:ext uri="{BB962C8B-B14F-4D97-AF65-F5344CB8AC3E}">
        <p14:creationId xmlns:p14="http://schemas.microsoft.com/office/powerpoint/2010/main" val="5643854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56145A-495B-4022-B821-DD8A20D724F6}"/>
              </a:ext>
            </a:extLst>
          </p:cNvPr>
          <p:cNvGraphicFramePr>
            <a:graphicFrameLocks noChangeAspect="1"/>
          </p:cNvGraphicFramePr>
          <p:nvPr>
            <p:custDataLst>
              <p:tags r:id="rId2"/>
            </p:custDataLst>
            <p:extLst>
              <p:ext uri="{D42A27DB-BD31-4B8C-83A1-F6EECF244321}">
                <p14:modId xmlns:p14="http://schemas.microsoft.com/office/powerpoint/2010/main" val="122521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8" name="think-cell Slide" r:id="rId5" imgW="425" imgH="426" progId="TCLayout.ActiveDocument.1">
                  <p:embed/>
                </p:oleObj>
              </mc:Choice>
              <mc:Fallback>
                <p:oleObj name="think-cell Slide" r:id="rId5" imgW="425" imgH="426" progId="TCLayout.ActiveDocument.1">
                  <p:embed/>
                  <p:pic>
                    <p:nvPicPr>
                      <p:cNvPr id="6" name="Object 5" hidden="1">
                        <a:extLst>
                          <a:ext uri="{FF2B5EF4-FFF2-40B4-BE49-F238E27FC236}">
                            <a16:creationId xmlns:a16="http://schemas.microsoft.com/office/drawing/2014/main" id="{C256145A-495B-4022-B821-DD8A20D724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52DD5D3-52AA-4709-85C9-1D9916B7417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942412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23E8C-4F41-4FF2-B5C9-0708083043FE}"/>
              </a:ext>
            </a:extLst>
          </p:cNvPr>
          <p:cNvGraphicFramePr>
            <a:graphicFrameLocks noChangeAspect="1"/>
          </p:cNvGraphicFramePr>
          <p:nvPr>
            <p:custDataLst>
              <p:tags r:id="rId2"/>
            </p:custDataLst>
            <p:extLst>
              <p:ext uri="{D42A27DB-BD31-4B8C-83A1-F6EECF244321}">
                <p14:modId xmlns:p14="http://schemas.microsoft.com/office/powerpoint/2010/main" val="342353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2"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A3923E8C-4F41-4FF2-B5C9-0708083043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55ECDAF-D721-41FB-95E8-475C9A67BD3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a:t>Click to edit Master title style</a:t>
            </a:r>
            <a:endParaRPr lang="en-US" dirty="0"/>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a:t>Click to edit Master text styles</a:t>
            </a:r>
          </a:p>
          <a:p>
            <a:pPr lvl="1"/>
            <a:r>
              <a:rPr lang="en-US"/>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8847966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oleObject" Target="../embeddings/oleObject9.bin"/><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ags" Target="../tags/tag17.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16.xml"/><Relationship Id="rId5" Type="http://schemas.openxmlformats.org/officeDocument/2006/relationships/slideLayout" Target="../slideLayouts/slideLayout12.xml"/><Relationship Id="rId10" Type="http://schemas.openxmlformats.org/officeDocument/2006/relationships/vmlDrawing" Target="../drawings/vmlDrawing9.vml"/><Relationship Id="rId4" Type="http://schemas.openxmlformats.org/officeDocument/2006/relationships/slideLayout" Target="../slideLayouts/slideLayout11.xml"/><Relationship Id="rId9" Type="http://schemas.openxmlformats.org/officeDocument/2006/relationships/theme" Target="../theme/theme2.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oleObject" Target="../embeddings/oleObject18.bin"/><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ags" Target="../tags/tag3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31.xml"/><Relationship Id="rId5" Type="http://schemas.openxmlformats.org/officeDocument/2006/relationships/slideLayout" Target="../slideLayouts/slideLayout20.xml"/><Relationship Id="rId10" Type="http://schemas.openxmlformats.org/officeDocument/2006/relationships/vmlDrawing" Target="../drawings/vmlDrawing18.vml"/><Relationship Id="rId4" Type="http://schemas.openxmlformats.org/officeDocument/2006/relationships/slideLayout" Target="../slideLayouts/slideLayout19.xml"/><Relationship Id="rId9" Type="http://schemas.openxmlformats.org/officeDocument/2006/relationships/theme" Target="../theme/theme3.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oleObject" Target="../embeddings/oleObject27.bin"/><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ags" Target="../tags/tag47.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ags" Target="../tags/tag46.xml"/><Relationship Id="rId5" Type="http://schemas.openxmlformats.org/officeDocument/2006/relationships/slideLayout" Target="../slideLayouts/slideLayout28.xml"/><Relationship Id="rId10" Type="http://schemas.openxmlformats.org/officeDocument/2006/relationships/vmlDrawing" Target="../drawings/vmlDrawing27.vml"/><Relationship Id="rId4" Type="http://schemas.openxmlformats.org/officeDocument/2006/relationships/slideLayout" Target="../slideLayouts/slideLayout27.xml"/><Relationship Id="rId9" Type="http://schemas.openxmlformats.org/officeDocument/2006/relationships/theme" Target="../theme/theme4.xml"/><Relationship Id="rId14"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oleObject" Target="../embeddings/oleObject36.bin"/><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ags" Target="../tags/tag62.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ags" Target="../tags/tag61.xml"/><Relationship Id="rId5" Type="http://schemas.openxmlformats.org/officeDocument/2006/relationships/slideLayout" Target="../slideLayouts/slideLayout36.xml"/><Relationship Id="rId10" Type="http://schemas.openxmlformats.org/officeDocument/2006/relationships/vmlDrawing" Target="../drawings/vmlDrawing36.vml"/><Relationship Id="rId4" Type="http://schemas.openxmlformats.org/officeDocument/2006/relationships/slideLayout" Target="../slideLayouts/slideLayout35.xml"/><Relationship Id="rId9" Type="http://schemas.openxmlformats.org/officeDocument/2006/relationships/theme" Target="../theme/theme5.xml"/><Relationship Id="rId1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oleObject" Target="../embeddings/oleObject45.bin"/><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ags" Target="../tags/tag77.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ags" Target="../tags/tag76.xml"/><Relationship Id="rId5" Type="http://schemas.openxmlformats.org/officeDocument/2006/relationships/slideLayout" Target="../slideLayouts/slideLayout44.xml"/><Relationship Id="rId10" Type="http://schemas.openxmlformats.org/officeDocument/2006/relationships/vmlDrawing" Target="../drawings/vmlDrawing45.vml"/><Relationship Id="rId4" Type="http://schemas.openxmlformats.org/officeDocument/2006/relationships/slideLayout" Target="../slideLayouts/slideLayout43.xml"/><Relationship Id="rId9" Type="http://schemas.openxmlformats.org/officeDocument/2006/relationships/theme" Target="../theme/theme6.xml"/><Relationship Id="rId14"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oleObject" Target="../embeddings/oleObject54.bin"/><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ags" Target="../tags/tag92.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91.xml"/><Relationship Id="rId5" Type="http://schemas.openxmlformats.org/officeDocument/2006/relationships/slideLayout" Target="../slideLayouts/slideLayout52.xml"/><Relationship Id="rId10" Type="http://schemas.openxmlformats.org/officeDocument/2006/relationships/vmlDrawing" Target="../drawings/vmlDrawing54.vml"/><Relationship Id="rId4" Type="http://schemas.openxmlformats.org/officeDocument/2006/relationships/slideLayout" Target="../slideLayouts/slideLayout51.xml"/><Relationship Id="rId9" Type="http://schemas.openxmlformats.org/officeDocument/2006/relationships/theme" Target="../theme/theme7.xml"/><Relationship Id="rId1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oleObject" Target="../embeddings/oleObject56.bin"/><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ags" Target="../tags/tag96.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ags" Target="../tags/tag95.xml"/><Relationship Id="rId5" Type="http://schemas.openxmlformats.org/officeDocument/2006/relationships/slideLayout" Target="../slideLayouts/slideLayout60.xml"/><Relationship Id="rId10" Type="http://schemas.openxmlformats.org/officeDocument/2006/relationships/vmlDrawing" Target="../drawings/vmlDrawing56.vml"/><Relationship Id="rId4" Type="http://schemas.openxmlformats.org/officeDocument/2006/relationships/slideLayout" Target="../slideLayouts/slideLayout59.xml"/><Relationship Id="rId9" Type="http://schemas.openxmlformats.org/officeDocument/2006/relationships/theme" Target="../theme/theme8.xml"/><Relationship Id="rId14"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oleObject" Target="../embeddings/oleObject58.bin"/><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ags" Target="../tags/tag100.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ags" Target="../tags/tag99.xml"/><Relationship Id="rId5" Type="http://schemas.openxmlformats.org/officeDocument/2006/relationships/slideLayout" Target="../slideLayouts/slideLayout68.xml"/><Relationship Id="rId10" Type="http://schemas.openxmlformats.org/officeDocument/2006/relationships/vmlDrawing" Target="../drawings/vmlDrawing58.vml"/><Relationship Id="rId4" Type="http://schemas.openxmlformats.org/officeDocument/2006/relationships/slideLayout" Target="../slideLayouts/slideLayout67.xml"/><Relationship Id="rId9" Type="http://schemas.openxmlformats.org/officeDocument/2006/relationships/theme" Target="../theme/theme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0"/>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 name="think-cell Slide" r:id="rId12" imgW="344" imgH="344" progId="TCLayout.ActiveDocument.1">
                  <p:embed/>
                </p:oleObj>
              </mc:Choice>
              <mc:Fallback>
                <p:oleObj name="think-cell Slide" r:id="rId12"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179465119"/>
      </p:ext>
    </p:extLst>
  </p:cSld>
  <p:clrMap bg1="dk1" tx1="lt1" bg2="dk2" tx2="lt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1"/>
            </p:custDataLst>
            <p:extLst>
              <p:ext uri="{D42A27DB-BD31-4B8C-83A1-F6EECF244321}">
                <p14:modId xmlns:p14="http://schemas.microsoft.com/office/powerpoint/2010/main" val="1172980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4"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A45CBE-6EDD-47CF-839C-634311055A9D}"/>
              </a:ext>
            </a:extLst>
          </p:cNvPr>
          <p:cNvSpPr/>
          <p:nvPr>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565845794"/>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1"/>
            </p:custDataLst>
            <p:extLst>
              <p:ext uri="{D42A27DB-BD31-4B8C-83A1-F6EECF244321}">
                <p14:modId xmlns:p14="http://schemas.microsoft.com/office/powerpoint/2010/main" val="329276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0"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0F4A05-5FC6-4EF6-9F0A-50169E71CEDB}"/>
              </a:ext>
            </a:extLst>
          </p:cNvPr>
          <p:cNvSpPr/>
          <p:nvPr>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126506949"/>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1"/>
            </p:custDataLst>
            <p:extLst>
              <p:ext uri="{D42A27DB-BD31-4B8C-83A1-F6EECF244321}">
                <p14:modId xmlns:p14="http://schemas.microsoft.com/office/powerpoint/2010/main" val="340905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6"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DF5E7C-B407-4334-9B3E-D6F721C3ACBB}"/>
              </a:ext>
            </a:extLst>
          </p:cNvPr>
          <p:cNvSpPr/>
          <p:nvPr>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755371940"/>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1"/>
            </p:custDataLst>
            <p:extLst>
              <p:ext uri="{D42A27DB-BD31-4B8C-83A1-F6EECF244321}">
                <p14:modId xmlns:p14="http://schemas.microsoft.com/office/powerpoint/2010/main" val="295602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2"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07F74DD-537C-460A-8A03-4AF118351BE8}"/>
              </a:ext>
            </a:extLst>
          </p:cNvPr>
          <p:cNvSpPr/>
          <p:nvPr>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2799331560"/>
      </p:ext>
    </p:extLst>
  </p:cSld>
  <p:clrMap bg1="lt1" tx1="dk1" bg2="lt2" tx2="dk2" accent1="accent1" accent2="accent2" accent3="accent3" accent4="accent4" accent5="accent5" accent6="accent6" hlink="hlink" folHlink="folHlink"/>
  <p:sldLayoutIdLst>
    <p:sldLayoutId id="2147484029" r:id="rId1"/>
    <p:sldLayoutId id="2147484030" r:id="rId2"/>
    <p:sldLayoutId id="2147484031" r:id="rId3"/>
    <p:sldLayoutId id="2147484032" r:id="rId4"/>
    <p:sldLayoutId id="2147484033" r:id="rId5"/>
    <p:sldLayoutId id="2147484034" r:id="rId6"/>
    <p:sldLayoutId id="2147484035" r:id="rId7"/>
    <p:sldLayoutId id="2147484036"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1"/>
            </p:custDataLst>
            <p:extLst>
              <p:ext uri="{D42A27DB-BD31-4B8C-83A1-F6EECF244321}">
                <p14:modId xmlns:p14="http://schemas.microsoft.com/office/powerpoint/2010/main" val="30281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8"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22C0B89-B0D4-461C-BEF4-713AE5855FA4}"/>
              </a:ext>
            </a:extLst>
          </p:cNvPr>
          <p:cNvSpPr/>
          <p:nvPr>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050" b="0">
                <a:solidFill>
                  <a:srgbClr val="B6B8C2"/>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1781313246"/>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 id="2147484044" r:id="rId7"/>
    <p:sldLayoutId id="2147484045"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1"/>
            </p:custDataLst>
            <p:extLst>
              <p:ext uri="{D42A27DB-BD31-4B8C-83A1-F6EECF244321}">
                <p14:modId xmlns:p14="http://schemas.microsoft.com/office/powerpoint/2010/main" val="258870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4"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899230155"/>
      </p:ext>
    </p:extLst>
  </p:cSld>
  <p:clrMap bg1="lt1" tx1="dk1" bg2="lt2" tx2="dk2" accent1="accent1" accent2="accent2" accent3="accent3" accent4="accent4" accent5="accent5" accent6="accent6" hlink="hlink" folHlink="folHlink"/>
  <p:sldLayoutIdLst>
    <p:sldLayoutId id="2147484047" r:id="rId1"/>
    <p:sldLayoutId id="2147484048" r:id="rId2"/>
    <p:sldLayoutId id="2147484049" r:id="rId3"/>
    <p:sldLayoutId id="2147484050" r:id="rId4"/>
    <p:sldLayoutId id="2147484051" r:id="rId5"/>
    <p:sldLayoutId id="2147484052" r:id="rId6"/>
    <p:sldLayoutId id="2147484053" r:id="rId7"/>
    <p:sldLayoutId id="2147484054"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1"/>
            </p:custDataLst>
            <p:extLst>
              <p:ext uri="{D42A27DB-BD31-4B8C-83A1-F6EECF244321}">
                <p14:modId xmlns:p14="http://schemas.microsoft.com/office/powerpoint/2010/main" val="3793116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2"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3007903986"/>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p:custDataLst>
              <p:tags r:id="rId11"/>
            </p:custDataLst>
            <p:extLst>
              <p:ext uri="{D42A27DB-BD31-4B8C-83A1-F6EECF244321}">
                <p14:modId xmlns:p14="http://schemas.microsoft.com/office/powerpoint/2010/main" val="297723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0" name="think-cell Slide" r:id="rId13" imgW="344" imgH="344" progId="TCLayout.ActiveDocument.1">
                  <p:embed/>
                </p:oleObj>
              </mc:Choice>
              <mc:Fallback>
                <p:oleObj name="think-cell Slide" r:id="rId13"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7F7BCE-5DDF-4F0C-832D-8348B8239FF0}"/>
              </a:ext>
            </a:extLst>
          </p:cNvPr>
          <p:cNvSpPr/>
          <p:nvPr>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defRPr lang="en-US" sz="1000" b="0" smtClean="0">
                <a:solidFill>
                  <a:srgbClr val="B6B8C2"/>
                </a:solidFill>
                <a:latin typeface="Arial" panose="020B0604020202020204" pitchFamily="34" charset="0"/>
                <a:cs typeface="Arial" panose="020B0604020202020204" pitchFamily="34" charset="0"/>
              </a:defRPr>
            </a:lvl1pPr>
          </a:lstStyle>
          <a:p>
            <a:pPr algn="r"/>
            <a:fld id="{37F5C94B-8C55-478B-B509-BAE6A06B2E2A}" type="slidenum">
              <a:rPr lang="en-US" smtClean="0"/>
              <a:pPr algn="r"/>
              <a:t>‹#›</a:t>
            </a:fld>
            <a:endParaRPr lang="en-US" dirty="0"/>
          </a:p>
        </p:txBody>
      </p:sp>
    </p:spTree>
    <p:extLst>
      <p:ext uri="{BB962C8B-B14F-4D97-AF65-F5344CB8AC3E}">
        <p14:creationId xmlns:p14="http://schemas.microsoft.com/office/powerpoint/2010/main" val="879794493"/>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10.svg"/><Relationship Id="rId18" Type="http://schemas.openxmlformats.org/officeDocument/2006/relationships/image" Target="../media/image13.png"/><Relationship Id="rId3" Type="http://schemas.openxmlformats.org/officeDocument/2006/relationships/tags" Target="../tags/tag104.xml"/><Relationship Id="rId21" Type="http://schemas.openxmlformats.org/officeDocument/2006/relationships/image" Target="../media/image118.svg"/><Relationship Id="rId7" Type="http://schemas.openxmlformats.org/officeDocument/2006/relationships/image" Target="../media/image1.emf"/><Relationship Id="rId12" Type="http://schemas.openxmlformats.org/officeDocument/2006/relationships/image" Target="../media/image10.png"/><Relationship Id="rId17" Type="http://schemas.openxmlformats.org/officeDocument/2006/relationships/image" Target="../media/image114.svg"/><Relationship Id="rId25" Type="http://schemas.openxmlformats.org/officeDocument/2006/relationships/image" Target="../media/image122.svg"/><Relationship Id="rId2" Type="http://schemas.openxmlformats.org/officeDocument/2006/relationships/tags" Target="../tags/tag103.xml"/><Relationship Id="rId16" Type="http://schemas.openxmlformats.org/officeDocument/2006/relationships/image" Target="../media/image12.png"/><Relationship Id="rId20" Type="http://schemas.openxmlformats.org/officeDocument/2006/relationships/image" Target="../media/image14.png"/><Relationship Id="rId1" Type="http://schemas.openxmlformats.org/officeDocument/2006/relationships/vmlDrawing" Target="../drawings/vmlDrawing60.vml"/><Relationship Id="rId6" Type="http://schemas.openxmlformats.org/officeDocument/2006/relationships/oleObject" Target="../embeddings/oleObject60.bin"/><Relationship Id="rId11" Type="http://schemas.openxmlformats.org/officeDocument/2006/relationships/image" Target="../media/image108.svg"/><Relationship Id="rId24" Type="http://schemas.openxmlformats.org/officeDocument/2006/relationships/image" Target="../media/image16.png"/><Relationship Id="rId5" Type="http://schemas.openxmlformats.org/officeDocument/2006/relationships/notesSlide" Target="../notesSlides/notesSlide1.xml"/><Relationship Id="rId15" Type="http://schemas.openxmlformats.org/officeDocument/2006/relationships/image" Target="../media/image112.svg"/><Relationship Id="rId23" Type="http://schemas.openxmlformats.org/officeDocument/2006/relationships/image" Target="../media/image120.svg"/><Relationship Id="rId10" Type="http://schemas.openxmlformats.org/officeDocument/2006/relationships/image" Target="../media/image9.png"/><Relationship Id="rId19" Type="http://schemas.openxmlformats.org/officeDocument/2006/relationships/image" Target="../media/image116.svg"/><Relationship Id="rId4" Type="http://schemas.openxmlformats.org/officeDocument/2006/relationships/slideLayout" Target="../slideLayouts/slideLayout3.xml"/><Relationship Id="rId9" Type="http://schemas.openxmlformats.org/officeDocument/2006/relationships/image" Target="../media/image106.svg"/><Relationship Id="rId14" Type="http://schemas.openxmlformats.org/officeDocument/2006/relationships/image" Target="../media/image11.png"/><Relationship Id="rId22" Type="http://schemas.openxmlformats.org/officeDocument/2006/relationships/image" Target="../media/image1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7F5C94B-8C55-478B-B509-BAE6A06B2E2A}" type="slidenum">
              <a:rPr lang="en-US" smtClean="0"/>
              <a:pPr/>
              <a:t>1</a:t>
            </a:fld>
            <a:endParaRPr lang="en-US" dirty="0"/>
          </a:p>
        </p:txBody>
      </p:sp>
      <p:sp>
        <p:nvSpPr>
          <p:cNvPr id="3" name="Title 2"/>
          <p:cNvSpPr>
            <a:spLocks noGrp="1"/>
          </p:cNvSpPr>
          <p:nvPr>
            <p:ph type="title"/>
          </p:nvPr>
        </p:nvSpPr>
        <p:spPr>
          <a:xfrm>
            <a:off x="502540" y="810229"/>
            <a:ext cx="10876659" cy="1660966"/>
          </a:xfrm>
        </p:spPr>
        <p:txBody>
          <a:bodyPr/>
          <a:lstStyle/>
          <a:p>
            <a:r>
              <a:rPr lang="en-US" dirty="0" smtClean="0"/>
              <a:t>The </a:t>
            </a:r>
            <a:r>
              <a:rPr lang="en-US" dirty="0"/>
              <a:t>importance of students in Innovations</a:t>
            </a:r>
          </a:p>
        </p:txBody>
      </p:sp>
      <p:sp>
        <p:nvSpPr>
          <p:cNvPr id="4" name="Text Placeholder 3"/>
          <p:cNvSpPr>
            <a:spLocks noGrp="1"/>
          </p:cNvSpPr>
          <p:nvPr>
            <p:ph type="body" sz="quarter" idx="11"/>
          </p:nvPr>
        </p:nvSpPr>
        <p:spPr>
          <a:xfrm>
            <a:off x="604840" y="5268810"/>
            <a:ext cx="10313987" cy="1551469"/>
          </a:xfrm>
        </p:spPr>
        <p:txBody>
          <a:bodyPr/>
          <a:lstStyle/>
          <a:p>
            <a:r>
              <a:rPr lang="en-US" sz="2800" b="1" dirty="0" smtClean="0"/>
              <a:t>Dr. Pradeep Ghosh</a:t>
            </a:r>
          </a:p>
          <a:p>
            <a:r>
              <a:rPr lang="en-US" dirty="0" smtClean="0"/>
              <a:t>Head International Cooperations </a:t>
            </a:r>
            <a:endParaRPr lang="en-US" dirty="0"/>
          </a:p>
        </p:txBody>
      </p:sp>
    </p:spTree>
    <p:extLst>
      <p:ext uri="{BB962C8B-B14F-4D97-AF65-F5344CB8AC3E}">
        <p14:creationId xmlns:p14="http://schemas.microsoft.com/office/powerpoint/2010/main" val="15169031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342743" y="1968123"/>
            <a:ext cx="5244420" cy="2332038"/>
          </a:xfrm>
        </p:spPr>
        <p:txBody>
          <a:bodyPr>
            <a:noAutofit/>
          </a:bodyPr>
          <a:lstStyle/>
          <a:p>
            <a:r>
              <a:rPr lang="en-US" sz="3200" dirty="0"/>
              <a:t>Students are the architects of our future, and innovation is the blueprint that shapes it. Their creativity, curiosity, and unbridled enthusiasm are the driving forces behind the progress of our world</a:t>
            </a:r>
            <a:r>
              <a:rPr lang="en-US" sz="3200" dirty="0" smtClean="0"/>
              <a:t>.</a:t>
            </a:r>
            <a:endParaRPr lang="en-US" sz="3200" dirty="0"/>
          </a:p>
        </p:txBody>
      </p:sp>
      <p:sp>
        <p:nvSpPr>
          <p:cNvPr id="4" name="Slide Number Placeholder 3"/>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4085" y="1968123"/>
            <a:ext cx="5555135" cy="3692448"/>
          </a:xfrm>
          <a:prstGeom prst="rect">
            <a:avLst/>
          </a:prstGeom>
        </p:spPr>
      </p:pic>
    </p:spTree>
    <p:extLst>
      <p:ext uri="{BB962C8B-B14F-4D97-AF65-F5344CB8AC3E}">
        <p14:creationId xmlns:p14="http://schemas.microsoft.com/office/powerpoint/2010/main" val="35390458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ries</a:t>
            </a:r>
            <a:endParaRPr lang="en-US" dirty="0"/>
          </a:p>
        </p:txBody>
      </p:sp>
      <p:sp>
        <p:nvSpPr>
          <p:cNvPr id="3" name="Text Placeholder 2"/>
          <p:cNvSpPr>
            <a:spLocks noGrp="1"/>
          </p:cNvSpPr>
          <p:nvPr>
            <p:ph type="body" sz="quarter" idx="10"/>
          </p:nvPr>
        </p:nvSpPr>
        <p:spPr>
          <a:xfrm>
            <a:off x="514116" y="1936297"/>
            <a:ext cx="4775198" cy="2332038"/>
          </a:xfrm>
        </p:spPr>
        <p:txBody>
          <a:bodyPr/>
          <a:lstStyle/>
          <a:p>
            <a:r>
              <a:rPr lang="en-US" dirty="0" smtClean="0"/>
              <a:t>Bachelor Student – Engineering - </a:t>
            </a:r>
            <a:r>
              <a:rPr lang="en-US" b="1" dirty="0" smtClean="0"/>
              <a:t>India</a:t>
            </a:r>
            <a:endParaRPr lang="en-US" b="1" dirty="0"/>
          </a:p>
        </p:txBody>
      </p:sp>
      <p:sp>
        <p:nvSpPr>
          <p:cNvPr id="4" name="Slide Number Placeholder 3"/>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5" name="Text Placeholder 2"/>
          <p:cNvSpPr txBox="1">
            <a:spLocks/>
          </p:cNvSpPr>
          <p:nvPr/>
        </p:nvSpPr>
        <p:spPr>
          <a:xfrm>
            <a:off x="5289315" y="1956708"/>
            <a:ext cx="4449771" cy="2332038"/>
          </a:xfrm>
          <a:prstGeom prst="rect">
            <a:avLst/>
          </a:prstGeom>
        </p:spPr>
        <p:txBody>
          <a:bodyPr vert="horz" lIns="91440" tIns="45720" rIns="91440" bIns="45720" rtlCol="0">
            <a:normAutofit/>
          </a:bodyPr>
          <a:lstStyle>
            <a:lvl1pPr marL="0" indent="0" algn="l" defTabSz="914377" rtl="0" eaLnBrk="1" latinLnBrk="0" hangingPunct="1">
              <a:lnSpc>
                <a:spcPct val="90000"/>
              </a:lnSpc>
              <a:spcBef>
                <a:spcPts val="1000"/>
              </a:spcBef>
              <a:buFont typeface="Arial" panose="020B0604020202020204" pitchFamily="34" charset="0"/>
              <a:buNone/>
              <a:defRPr sz="18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8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4115" y="2425843"/>
            <a:ext cx="4513036" cy="3237472"/>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12392" y="2425843"/>
            <a:ext cx="4974771" cy="3316514"/>
          </a:xfrm>
          <a:prstGeom prst="rect">
            <a:avLst/>
          </a:prstGeom>
        </p:spPr>
      </p:pic>
      <p:sp>
        <p:nvSpPr>
          <p:cNvPr id="8" name="Text Placeholder 2"/>
          <p:cNvSpPr txBox="1">
            <a:spLocks/>
          </p:cNvSpPr>
          <p:nvPr/>
        </p:nvSpPr>
        <p:spPr>
          <a:xfrm>
            <a:off x="6612391" y="1968502"/>
            <a:ext cx="4974771" cy="2332038"/>
          </a:xfrm>
          <a:prstGeom prst="rect">
            <a:avLst/>
          </a:prstGeom>
        </p:spPr>
        <p:txBody>
          <a:bodyPr vert="horz" lIns="91440" tIns="45720" rIns="91440" bIns="45720" rtlCol="0">
            <a:normAutofit/>
          </a:bodyPr>
          <a:lstStyle>
            <a:lvl1pPr marL="0" indent="0" algn="l" defTabSz="914377" rtl="0" eaLnBrk="1" latinLnBrk="0" hangingPunct="1">
              <a:lnSpc>
                <a:spcPct val="90000"/>
              </a:lnSpc>
              <a:spcBef>
                <a:spcPts val="1000"/>
              </a:spcBef>
              <a:buFont typeface="Arial" panose="020B0604020202020204" pitchFamily="34" charset="0"/>
              <a:buNone/>
              <a:defRPr sz="18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8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smtClean="0"/>
              <a:t>Doctoral Student – Physics - </a:t>
            </a:r>
            <a:r>
              <a:rPr lang="en-US" b="1" dirty="0" smtClean="0"/>
              <a:t>Romania</a:t>
            </a:r>
            <a:r>
              <a:rPr lang="en-US" dirty="0" smtClean="0"/>
              <a:t> </a:t>
            </a:r>
            <a:endParaRPr lang="en-US" dirty="0"/>
          </a:p>
        </p:txBody>
      </p:sp>
    </p:spTree>
    <p:extLst>
      <p:ext uri="{BB962C8B-B14F-4D97-AF65-F5344CB8AC3E}">
        <p14:creationId xmlns:p14="http://schemas.microsoft.com/office/powerpoint/2010/main" val="15115536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ries</a:t>
            </a:r>
            <a:endParaRPr lang="en-US" dirty="0"/>
          </a:p>
        </p:txBody>
      </p:sp>
      <p:sp>
        <p:nvSpPr>
          <p:cNvPr id="3" name="Text Placeholder 2"/>
          <p:cNvSpPr>
            <a:spLocks noGrp="1"/>
          </p:cNvSpPr>
          <p:nvPr>
            <p:ph type="body" sz="quarter" idx="10"/>
          </p:nvPr>
        </p:nvSpPr>
        <p:spPr>
          <a:xfrm>
            <a:off x="514116" y="1936297"/>
            <a:ext cx="4775198" cy="2332038"/>
          </a:xfrm>
        </p:spPr>
        <p:txBody>
          <a:bodyPr/>
          <a:lstStyle/>
          <a:p>
            <a:r>
              <a:rPr lang="en-US" dirty="0" smtClean="0"/>
              <a:t>Post Doc Researcher – Material - </a:t>
            </a:r>
            <a:r>
              <a:rPr lang="en-US" b="1" dirty="0" smtClean="0"/>
              <a:t>China</a:t>
            </a:r>
            <a:endParaRPr lang="en-US" b="1" dirty="0"/>
          </a:p>
        </p:txBody>
      </p:sp>
      <p:sp>
        <p:nvSpPr>
          <p:cNvPr id="4" name="Slide Number Placeholder 3"/>
          <p:cNvSpPr>
            <a:spLocks noGrp="1"/>
          </p:cNvSpPr>
          <p:nvPr>
            <p:ph type="sldNum" sz="quarter" idx="4"/>
          </p:nvPr>
        </p:nvSpPr>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5" name="Text Placeholder 2"/>
          <p:cNvSpPr txBox="1">
            <a:spLocks/>
          </p:cNvSpPr>
          <p:nvPr/>
        </p:nvSpPr>
        <p:spPr>
          <a:xfrm>
            <a:off x="5289315" y="1956708"/>
            <a:ext cx="4449771" cy="2332038"/>
          </a:xfrm>
          <a:prstGeom prst="rect">
            <a:avLst/>
          </a:prstGeom>
        </p:spPr>
        <p:txBody>
          <a:bodyPr vert="horz" lIns="91440" tIns="45720" rIns="91440" bIns="45720" rtlCol="0">
            <a:normAutofit/>
          </a:bodyPr>
          <a:lstStyle>
            <a:lvl1pPr marL="0" indent="0" algn="l" defTabSz="914377" rtl="0" eaLnBrk="1" latinLnBrk="0" hangingPunct="1">
              <a:lnSpc>
                <a:spcPct val="90000"/>
              </a:lnSpc>
              <a:spcBef>
                <a:spcPts val="1000"/>
              </a:spcBef>
              <a:buFont typeface="Arial" panose="020B0604020202020204" pitchFamily="34" charset="0"/>
              <a:buNone/>
              <a:defRPr sz="18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8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sp>
        <p:nvSpPr>
          <p:cNvPr id="8" name="Text Placeholder 2"/>
          <p:cNvSpPr txBox="1">
            <a:spLocks/>
          </p:cNvSpPr>
          <p:nvPr/>
        </p:nvSpPr>
        <p:spPr>
          <a:xfrm>
            <a:off x="6612391" y="1968502"/>
            <a:ext cx="4974771" cy="2332038"/>
          </a:xfrm>
          <a:prstGeom prst="rect">
            <a:avLst/>
          </a:prstGeom>
        </p:spPr>
        <p:txBody>
          <a:bodyPr vert="horz" lIns="91440" tIns="45720" rIns="91440" bIns="45720" rtlCol="0">
            <a:normAutofit/>
          </a:bodyPr>
          <a:lstStyle>
            <a:lvl1pPr marL="0" indent="0" algn="l" defTabSz="914377" rtl="0" eaLnBrk="1" latinLnBrk="0" hangingPunct="1">
              <a:lnSpc>
                <a:spcPct val="90000"/>
              </a:lnSpc>
              <a:spcBef>
                <a:spcPts val="1000"/>
              </a:spcBef>
              <a:buFont typeface="Arial" panose="020B0604020202020204" pitchFamily="34" charset="0"/>
              <a:buNone/>
              <a:defRPr sz="18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8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mtClean="0"/>
              <a:t>Post Doc </a:t>
            </a:r>
            <a:r>
              <a:rPr lang="en-US" dirty="0" smtClean="0"/>
              <a:t>Researcher – FRS - </a:t>
            </a:r>
            <a:r>
              <a:rPr lang="en-US" b="1" dirty="0" smtClean="0"/>
              <a:t>Finland</a:t>
            </a:r>
            <a:r>
              <a:rPr lang="en-US" dirty="0" smtClean="0"/>
              <a:t> </a:t>
            </a:r>
            <a:endParaRPr lang="en-US" dirty="0"/>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4114" y="2544311"/>
            <a:ext cx="4797069" cy="3198046"/>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9638" y="2544311"/>
            <a:ext cx="4903106" cy="3268737"/>
          </a:xfrm>
          <a:prstGeom prst="rect">
            <a:avLst/>
          </a:prstGeom>
        </p:spPr>
      </p:pic>
    </p:spTree>
    <p:extLst>
      <p:ext uri="{BB962C8B-B14F-4D97-AF65-F5344CB8AC3E}">
        <p14:creationId xmlns:p14="http://schemas.microsoft.com/office/powerpoint/2010/main" val="10940587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394E08-585B-4505-9747-167D67881D8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0"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1F394E08-585B-4505-9747-167D67881D8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751010D-829D-4277-97AB-08D381FF1AB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p:txBody>
          <a:bodyPr/>
          <a:lstStyle/>
          <a:p>
            <a:r>
              <a:rPr lang="en-US" sz="2400" kern="0" dirty="0"/>
              <a:t>Key </a:t>
            </a:r>
            <a:r>
              <a:rPr lang="en-US" sz="2400" kern="0" dirty="0" smtClean="0"/>
              <a:t>Benefits (I can imagine) </a:t>
            </a:r>
            <a:endParaRPr lang="en-US" sz="2400" b="0" kern="0" dirty="0"/>
          </a:p>
        </p:txBody>
      </p:sp>
      <p:sp>
        <p:nvSpPr>
          <p:cNvPr id="9" name="Slide Number Placeholder 8">
            <a:extLst>
              <a:ext uri="{FF2B5EF4-FFF2-40B4-BE49-F238E27FC236}">
                <a16:creationId xmlns:a16="http://schemas.microsoft.com/office/drawing/2014/main" id="{A4C0187A-3E85-4C87-AB6B-7D4F4276FE07}"/>
              </a:ext>
            </a:extLst>
          </p:cNvPr>
          <p:cNvSpPr>
            <a:spLocks noGrp="1"/>
          </p:cNvSpPr>
          <p:nvPr>
            <p:ph type="sldNum" sz="quarter" idx="4"/>
          </p:nvPr>
        </p:nvSpPr>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6" name="Rectangle 5">
            <a:extLst>
              <a:ext uri="{FF2B5EF4-FFF2-40B4-BE49-F238E27FC236}">
                <a16:creationId xmlns:a16="http://schemas.microsoft.com/office/drawing/2014/main" id="{7077FF90-18B3-4753-AB03-EA70B19442E9}"/>
              </a:ext>
            </a:extLst>
          </p:cNvPr>
          <p:cNvSpPr/>
          <p:nvPr/>
        </p:nvSpPr>
        <p:spPr>
          <a:xfrm>
            <a:off x="623454" y="1769876"/>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 name="Rectangle 23">
            <a:extLst>
              <a:ext uri="{FF2B5EF4-FFF2-40B4-BE49-F238E27FC236}">
                <a16:creationId xmlns:a16="http://schemas.microsoft.com/office/drawing/2014/main" id="{10FC36E4-FF69-4225-8CCB-04169852A81D}"/>
              </a:ext>
            </a:extLst>
          </p:cNvPr>
          <p:cNvSpPr/>
          <p:nvPr/>
        </p:nvSpPr>
        <p:spPr>
          <a:xfrm>
            <a:off x="4358343" y="1769876"/>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Rectangle 24">
            <a:extLst>
              <a:ext uri="{FF2B5EF4-FFF2-40B4-BE49-F238E27FC236}">
                <a16:creationId xmlns:a16="http://schemas.microsoft.com/office/drawing/2014/main" id="{00620D10-048E-48D9-A2B4-B60613B1CC93}"/>
              </a:ext>
            </a:extLst>
          </p:cNvPr>
          <p:cNvSpPr/>
          <p:nvPr/>
        </p:nvSpPr>
        <p:spPr>
          <a:xfrm>
            <a:off x="8093234" y="1769876"/>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Rectangle 34">
            <a:extLst>
              <a:ext uri="{FF2B5EF4-FFF2-40B4-BE49-F238E27FC236}">
                <a16:creationId xmlns:a16="http://schemas.microsoft.com/office/drawing/2014/main" id="{CD141786-24B4-44B0-B8A6-7A0356A8DAA2}"/>
              </a:ext>
            </a:extLst>
          </p:cNvPr>
          <p:cNvSpPr/>
          <p:nvPr/>
        </p:nvSpPr>
        <p:spPr>
          <a:xfrm>
            <a:off x="623454" y="3326712"/>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 name="Rectangle 36">
            <a:extLst>
              <a:ext uri="{FF2B5EF4-FFF2-40B4-BE49-F238E27FC236}">
                <a16:creationId xmlns:a16="http://schemas.microsoft.com/office/drawing/2014/main" id="{A8ED4079-9C72-477E-A32B-0BE357ABC2DA}"/>
              </a:ext>
            </a:extLst>
          </p:cNvPr>
          <p:cNvSpPr/>
          <p:nvPr/>
        </p:nvSpPr>
        <p:spPr>
          <a:xfrm>
            <a:off x="4358343" y="3326712"/>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800" dirty="0"/>
          </a:p>
        </p:txBody>
      </p:sp>
      <p:sp>
        <p:nvSpPr>
          <p:cNvPr id="38" name="Rectangle 37">
            <a:extLst>
              <a:ext uri="{FF2B5EF4-FFF2-40B4-BE49-F238E27FC236}">
                <a16:creationId xmlns:a16="http://schemas.microsoft.com/office/drawing/2014/main" id="{FD0050EA-2F92-4A1D-BBA2-312C9B6FE8B8}"/>
              </a:ext>
            </a:extLst>
          </p:cNvPr>
          <p:cNvSpPr/>
          <p:nvPr/>
        </p:nvSpPr>
        <p:spPr>
          <a:xfrm>
            <a:off x="8093234" y="3326712"/>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 name="Rectangle 39">
            <a:extLst>
              <a:ext uri="{FF2B5EF4-FFF2-40B4-BE49-F238E27FC236}">
                <a16:creationId xmlns:a16="http://schemas.microsoft.com/office/drawing/2014/main" id="{0ACD094E-AE08-44D5-A0A8-BF6ED094C063}"/>
              </a:ext>
            </a:extLst>
          </p:cNvPr>
          <p:cNvSpPr/>
          <p:nvPr/>
        </p:nvSpPr>
        <p:spPr>
          <a:xfrm>
            <a:off x="623454" y="4883548"/>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 name="Rectangle 40">
            <a:extLst>
              <a:ext uri="{FF2B5EF4-FFF2-40B4-BE49-F238E27FC236}">
                <a16:creationId xmlns:a16="http://schemas.microsoft.com/office/drawing/2014/main" id="{DA9D4097-1186-4D11-8507-48A6EB77B0D4}"/>
              </a:ext>
            </a:extLst>
          </p:cNvPr>
          <p:cNvSpPr/>
          <p:nvPr/>
        </p:nvSpPr>
        <p:spPr>
          <a:xfrm>
            <a:off x="4358343" y="4883548"/>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5" name="Rectangle 44">
            <a:extLst>
              <a:ext uri="{FF2B5EF4-FFF2-40B4-BE49-F238E27FC236}">
                <a16:creationId xmlns:a16="http://schemas.microsoft.com/office/drawing/2014/main" id="{9E2329D8-6CE9-482F-B3CE-E8EC3B1A9369}"/>
              </a:ext>
            </a:extLst>
          </p:cNvPr>
          <p:cNvSpPr/>
          <p:nvPr/>
        </p:nvSpPr>
        <p:spPr>
          <a:xfrm>
            <a:off x="8093234" y="4883548"/>
            <a:ext cx="3493929" cy="1373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6" name="Graphic 45">
            <a:extLst>
              <a:ext uri="{FF2B5EF4-FFF2-40B4-BE49-F238E27FC236}">
                <a16:creationId xmlns:a16="http://schemas.microsoft.com/office/drawing/2014/main" id="{F2DF10A2-E100-4FF9-9CB8-EDE71129B31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792218" y="2201757"/>
            <a:ext cx="509624" cy="509624"/>
          </a:xfrm>
          <a:prstGeom prst="rect">
            <a:avLst/>
          </a:prstGeom>
        </p:spPr>
      </p:pic>
      <p:sp>
        <p:nvSpPr>
          <p:cNvPr id="47" name="Rounded Rectangle 5">
            <a:extLst>
              <a:ext uri="{FF2B5EF4-FFF2-40B4-BE49-F238E27FC236}">
                <a16:creationId xmlns:a16="http://schemas.microsoft.com/office/drawing/2014/main" id="{2294D629-5734-4E8A-ACBC-857B7249F5A5}"/>
              </a:ext>
            </a:extLst>
          </p:cNvPr>
          <p:cNvSpPr/>
          <p:nvPr/>
        </p:nvSpPr>
        <p:spPr bwMode="auto">
          <a:xfrm>
            <a:off x="1470606" y="2318069"/>
            <a:ext cx="2467550" cy="276999"/>
          </a:xfrm>
          <a:prstGeom prst="rect">
            <a:avLst/>
          </a:prstGeom>
          <a:noFill/>
          <a:ln w="19050" algn="ctr">
            <a:noFill/>
            <a:miter lim="800000"/>
            <a:headEnd type="none" w="sm" len="sm"/>
            <a:tailEnd type="none" w="sm" len="sm"/>
          </a:ln>
        </p:spPr>
        <p:txBody>
          <a:bodyPr wrap="square" lIns="0" tIns="0" rIns="0" bIns="0" anchor="ctr">
            <a:spAutoFit/>
          </a:bodyPr>
          <a:lstStyle/>
          <a:p>
            <a:r>
              <a:rPr lang="en-GB" b="1" i="0" dirty="0">
                <a:solidFill>
                  <a:srgbClr val="053881"/>
                </a:solidFill>
                <a:effectLst/>
                <a:latin typeface="Helvetica" panose="020B0604020202020204" pitchFamily="34" charset="0"/>
              </a:rPr>
              <a:t>Improve </a:t>
            </a:r>
            <a:r>
              <a:rPr lang="en-GB" b="1" i="0" dirty="0" smtClean="0">
                <a:solidFill>
                  <a:srgbClr val="053881"/>
                </a:solidFill>
                <a:effectLst/>
                <a:latin typeface="Helvetica" panose="020B0604020202020204" pitchFamily="34" charset="0"/>
              </a:rPr>
              <a:t>your skills</a:t>
            </a:r>
            <a:endParaRPr lang="en-US" dirty="0">
              <a:ea typeface="ＭＳ Ｐゴシック" pitchFamily="50" charset="-128"/>
            </a:endParaRPr>
          </a:p>
        </p:txBody>
      </p:sp>
      <p:sp>
        <p:nvSpPr>
          <p:cNvPr id="48" name="Rounded Rectangle 5">
            <a:extLst>
              <a:ext uri="{FF2B5EF4-FFF2-40B4-BE49-F238E27FC236}">
                <a16:creationId xmlns:a16="http://schemas.microsoft.com/office/drawing/2014/main" id="{971D573A-5304-4C92-8CB7-47985CE6549D}"/>
              </a:ext>
            </a:extLst>
          </p:cNvPr>
          <p:cNvSpPr/>
          <p:nvPr/>
        </p:nvSpPr>
        <p:spPr bwMode="auto">
          <a:xfrm>
            <a:off x="5206138" y="2041070"/>
            <a:ext cx="2467550" cy="830997"/>
          </a:xfrm>
          <a:prstGeom prst="rect">
            <a:avLst/>
          </a:prstGeom>
          <a:noFill/>
          <a:ln w="19050" algn="ctr">
            <a:noFill/>
            <a:miter lim="800000"/>
            <a:headEnd type="none" w="sm" len="sm"/>
            <a:tailEnd type="none" w="sm" len="sm"/>
          </a:ln>
        </p:spPr>
        <p:txBody>
          <a:bodyPr wrap="square" lIns="0" tIns="0" rIns="0" bIns="0" anchor="ctr">
            <a:spAutoFit/>
          </a:bodyPr>
          <a:lstStyle/>
          <a:p>
            <a:r>
              <a:rPr lang="en-GB" b="1" i="0" dirty="0">
                <a:solidFill>
                  <a:srgbClr val="053881"/>
                </a:solidFill>
                <a:effectLst/>
                <a:latin typeface="Helvetica" panose="020B0604020202020204" pitchFamily="34" charset="0"/>
              </a:rPr>
              <a:t>Make a great investment for your </a:t>
            </a:r>
            <a:r>
              <a:rPr lang="en-GB" b="1" i="0" dirty="0" smtClean="0">
                <a:solidFill>
                  <a:srgbClr val="053881"/>
                </a:solidFill>
                <a:effectLst/>
                <a:latin typeface="Helvetica" panose="020B0604020202020204" pitchFamily="34" charset="0"/>
              </a:rPr>
              <a:t>career</a:t>
            </a:r>
            <a:endParaRPr lang="en-US" dirty="0">
              <a:ea typeface="ＭＳ Ｐゴシック" pitchFamily="50" charset="-128"/>
            </a:endParaRPr>
          </a:p>
        </p:txBody>
      </p:sp>
      <p:sp>
        <p:nvSpPr>
          <p:cNvPr id="49" name="Rounded Rectangle 5">
            <a:extLst>
              <a:ext uri="{FF2B5EF4-FFF2-40B4-BE49-F238E27FC236}">
                <a16:creationId xmlns:a16="http://schemas.microsoft.com/office/drawing/2014/main" id="{5CF30ED3-F54D-472F-8C3E-5A39BAB8D140}"/>
              </a:ext>
            </a:extLst>
          </p:cNvPr>
          <p:cNvSpPr/>
          <p:nvPr/>
        </p:nvSpPr>
        <p:spPr bwMode="auto">
          <a:xfrm>
            <a:off x="8941670" y="2179570"/>
            <a:ext cx="2467550" cy="553998"/>
          </a:xfrm>
          <a:prstGeom prst="rect">
            <a:avLst/>
          </a:prstGeom>
          <a:noFill/>
          <a:ln w="19050" algn="ctr">
            <a:noFill/>
            <a:miter lim="800000"/>
            <a:headEnd type="none" w="sm" len="sm"/>
            <a:tailEnd type="none" w="sm" len="sm"/>
          </a:ln>
        </p:spPr>
        <p:txBody>
          <a:bodyPr wrap="square" lIns="0" tIns="0" rIns="0" bIns="0" anchor="ctr">
            <a:spAutoFit/>
          </a:bodyPr>
          <a:lstStyle/>
          <a:p>
            <a:r>
              <a:rPr lang="en-GB" b="1" i="0" dirty="0">
                <a:solidFill>
                  <a:srgbClr val="053881"/>
                </a:solidFill>
                <a:effectLst/>
                <a:latin typeface="Helvetica" panose="020B0604020202020204" pitchFamily="34" charset="0"/>
              </a:rPr>
              <a:t>Get a competitive </a:t>
            </a:r>
            <a:r>
              <a:rPr lang="en-GB" b="1" i="0" dirty="0" smtClean="0">
                <a:solidFill>
                  <a:srgbClr val="053881"/>
                </a:solidFill>
                <a:effectLst/>
                <a:latin typeface="Helvetica" panose="020B0604020202020204" pitchFamily="34" charset="0"/>
              </a:rPr>
              <a:t>advantage</a:t>
            </a:r>
            <a:endParaRPr lang="en-US" dirty="0">
              <a:ea typeface="ＭＳ Ｐゴシック" pitchFamily="50" charset="-128"/>
            </a:endParaRPr>
          </a:p>
        </p:txBody>
      </p:sp>
      <p:sp>
        <p:nvSpPr>
          <p:cNvPr id="50" name="Rounded Rectangle 5">
            <a:extLst>
              <a:ext uri="{FF2B5EF4-FFF2-40B4-BE49-F238E27FC236}">
                <a16:creationId xmlns:a16="http://schemas.microsoft.com/office/drawing/2014/main" id="{360D60BA-ED17-4774-B45A-F73EBAE34844}"/>
              </a:ext>
            </a:extLst>
          </p:cNvPr>
          <p:cNvSpPr/>
          <p:nvPr/>
        </p:nvSpPr>
        <p:spPr bwMode="auto">
          <a:xfrm>
            <a:off x="1470606" y="3736407"/>
            <a:ext cx="2467550" cy="553998"/>
          </a:xfrm>
          <a:prstGeom prst="rect">
            <a:avLst/>
          </a:prstGeom>
          <a:noFill/>
          <a:ln w="19050" algn="ctr">
            <a:noFill/>
            <a:miter lim="800000"/>
            <a:headEnd type="none" w="sm" len="sm"/>
            <a:tailEnd type="none" w="sm" len="sm"/>
          </a:ln>
        </p:spPr>
        <p:txBody>
          <a:bodyPr wrap="square" lIns="0" tIns="0" rIns="0" bIns="0" anchor="ctr">
            <a:spAutoFit/>
          </a:bodyPr>
          <a:lstStyle/>
          <a:p>
            <a:r>
              <a:rPr lang="en-GB" b="1" i="0" dirty="0" smtClean="0">
                <a:solidFill>
                  <a:srgbClr val="053881"/>
                </a:solidFill>
                <a:effectLst/>
                <a:latin typeface="Helvetica" panose="020B0604020202020204" pitchFamily="34" charset="0"/>
              </a:rPr>
              <a:t>Managing time efficiently </a:t>
            </a:r>
            <a:endParaRPr lang="en-US" dirty="0">
              <a:ea typeface="ＭＳ Ｐゴシック" pitchFamily="50" charset="-128"/>
            </a:endParaRPr>
          </a:p>
        </p:txBody>
      </p:sp>
      <p:sp>
        <p:nvSpPr>
          <p:cNvPr id="52" name="Rounded Rectangle 5">
            <a:extLst>
              <a:ext uri="{FF2B5EF4-FFF2-40B4-BE49-F238E27FC236}">
                <a16:creationId xmlns:a16="http://schemas.microsoft.com/office/drawing/2014/main" id="{99AA9153-C633-4C31-9E9A-0948942A95C9}"/>
              </a:ext>
            </a:extLst>
          </p:cNvPr>
          <p:cNvSpPr/>
          <p:nvPr/>
        </p:nvSpPr>
        <p:spPr bwMode="auto">
          <a:xfrm>
            <a:off x="8941670" y="3597907"/>
            <a:ext cx="2467550" cy="830997"/>
          </a:xfrm>
          <a:prstGeom prst="rect">
            <a:avLst/>
          </a:prstGeom>
          <a:noFill/>
          <a:ln w="19050" algn="ctr">
            <a:noFill/>
            <a:miter lim="800000"/>
            <a:headEnd type="none" w="sm" len="sm"/>
            <a:tailEnd type="none" w="sm" len="sm"/>
          </a:ln>
        </p:spPr>
        <p:txBody>
          <a:bodyPr wrap="square" lIns="0" tIns="0" rIns="0" bIns="0" anchor="ctr">
            <a:spAutoFit/>
          </a:bodyPr>
          <a:lstStyle/>
          <a:p>
            <a:r>
              <a:rPr lang="en-GB" b="1" i="0" dirty="0">
                <a:solidFill>
                  <a:srgbClr val="053881"/>
                </a:solidFill>
                <a:effectLst/>
                <a:latin typeface="Helvetica" panose="020B0604020202020204" pitchFamily="34" charset="0"/>
              </a:rPr>
              <a:t>Improve the </a:t>
            </a:r>
            <a:r>
              <a:rPr lang="en-GB" b="1" i="0" dirty="0" smtClean="0">
                <a:solidFill>
                  <a:srgbClr val="053881"/>
                </a:solidFill>
                <a:effectLst/>
                <a:latin typeface="Helvetica" panose="020B0604020202020204" pitchFamily="34" charset="0"/>
              </a:rPr>
              <a:t>capabilities as researcher</a:t>
            </a:r>
            <a:endParaRPr lang="en-US" b="0" i="0" dirty="0">
              <a:solidFill>
                <a:srgbClr val="053881"/>
              </a:solidFill>
              <a:effectLst/>
              <a:latin typeface="Helvetica" panose="020B0604020202020204" pitchFamily="34" charset="0"/>
            </a:endParaRPr>
          </a:p>
        </p:txBody>
      </p:sp>
      <p:sp>
        <p:nvSpPr>
          <p:cNvPr id="53" name="Rounded Rectangle 5">
            <a:extLst>
              <a:ext uri="{FF2B5EF4-FFF2-40B4-BE49-F238E27FC236}">
                <a16:creationId xmlns:a16="http://schemas.microsoft.com/office/drawing/2014/main" id="{B2ED7A07-F9BD-4DB4-A9C5-B3108D40701B}"/>
              </a:ext>
            </a:extLst>
          </p:cNvPr>
          <p:cNvSpPr/>
          <p:nvPr/>
        </p:nvSpPr>
        <p:spPr bwMode="auto">
          <a:xfrm>
            <a:off x="1470606" y="5293243"/>
            <a:ext cx="2467550" cy="553998"/>
          </a:xfrm>
          <a:prstGeom prst="rect">
            <a:avLst/>
          </a:prstGeom>
          <a:noFill/>
          <a:ln w="19050" algn="ctr">
            <a:noFill/>
            <a:miter lim="800000"/>
            <a:headEnd type="none" w="sm" len="sm"/>
            <a:tailEnd type="none" w="sm" len="sm"/>
          </a:ln>
        </p:spPr>
        <p:txBody>
          <a:bodyPr wrap="square" lIns="0" tIns="0" rIns="0" bIns="0" anchor="ctr">
            <a:spAutoFit/>
          </a:bodyPr>
          <a:lstStyle/>
          <a:p>
            <a:r>
              <a:rPr lang="en-GB" b="1" i="0" dirty="0">
                <a:solidFill>
                  <a:srgbClr val="053881"/>
                </a:solidFill>
                <a:effectLst/>
                <a:latin typeface="Helvetica" panose="020B0604020202020204" pitchFamily="34" charset="0"/>
              </a:rPr>
              <a:t>Get free support and </a:t>
            </a:r>
            <a:r>
              <a:rPr lang="en-GB" b="1" i="0" dirty="0" smtClean="0">
                <a:solidFill>
                  <a:srgbClr val="053881"/>
                </a:solidFill>
                <a:effectLst/>
                <a:latin typeface="Helvetica" panose="020B0604020202020204" pitchFamily="34" charset="0"/>
              </a:rPr>
              <a:t>advice</a:t>
            </a:r>
            <a:endParaRPr lang="en-US" dirty="0">
              <a:ea typeface="ＭＳ Ｐゴシック" pitchFamily="50" charset="-128"/>
            </a:endParaRPr>
          </a:p>
        </p:txBody>
      </p:sp>
      <p:sp>
        <p:nvSpPr>
          <p:cNvPr id="54" name="Rounded Rectangle 5">
            <a:extLst>
              <a:ext uri="{FF2B5EF4-FFF2-40B4-BE49-F238E27FC236}">
                <a16:creationId xmlns:a16="http://schemas.microsoft.com/office/drawing/2014/main" id="{F2CB5A07-4EE0-490C-BC2F-099732840F2C}"/>
              </a:ext>
            </a:extLst>
          </p:cNvPr>
          <p:cNvSpPr/>
          <p:nvPr/>
        </p:nvSpPr>
        <p:spPr bwMode="auto">
          <a:xfrm>
            <a:off x="5206138" y="5016244"/>
            <a:ext cx="2467550" cy="1107996"/>
          </a:xfrm>
          <a:prstGeom prst="rect">
            <a:avLst/>
          </a:prstGeom>
          <a:noFill/>
          <a:ln w="19050" algn="ctr">
            <a:noFill/>
            <a:miter lim="800000"/>
            <a:headEnd type="none" w="sm" len="sm"/>
            <a:tailEnd type="none" w="sm" len="sm"/>
          </a:ln>
        </p:spPr>
        <p:txBody>
          <a:bodyPr wrap="square" lIns="0" tIns="0" rIns="0" bIns="0" anchor="ctr">
            <a:spAutoFit/>
          </a:bodyPr>
          <a:lstStyle/>
          <a:p>
            <a:endParaRPr lang="en-GB" b="1" i="0" dirty="0">
              <a:solidFill>
                <a:srgbClr val="053881"/>
              </a:solidFill>
              <a:effectLst/>
              <a:latin typeface="Helvetica" panose="020B0604020202020204" pitchFamily="34" charset="0"/>
            </a:endParaRPr>
          </a:p>
          <a:p>
            <a:r>
              <a:rPr lang="en-GB" b="1" i="0" dirty="0" smtClean="0">
                <a:solidFill>
                  <a:srgbClr val="053881"/>
                </a:solidFill>
                <a:effectLst/>
                <a:latin typeface="Helvetica" panose="020B0604020202020204" pitchFamily="34" charset="0"/>
              </a:rPr>
              <a:t>Learn how to optimize and analyse </a:t>
            </a:r>
            <a:r>
              <a:rPr lang="en-GB" b="1" i="0" dirty="0">
                <a:solidFill>
                  <a:srgbClr val="053881"/>
                </a:solidFill>
                <a:effectLst/>
                <a:latin typeface="Helvetica" panose="020B0604020202020204" pitchFamily="34" charset="0"/>
              </a:rPr>
              <a:t>your costs. </a:t>
            </a:r>
            <a:endParaRPr lang="en-US" dirty="0">
              <a:ea typeface="ＭＳ Ｐゴシック" pitchFamily="50" charset="-128"/>
            </a:endParaRPr>
          </a:p>
        </p:txBody>
      </p:sp>
      <p:sp>
        <p:nvSpPr>
          <p:cNvPr id="55" name="Rounded Rectangle 5">
            <a:extLst>
              <a:ext uri="{FF2B5EF4-FFF2-40B4-BE49-F238E27FC236}">
                <a16:creationId xmlns:a16="http://schemas.microsoft.com/office/drawing/2014/main" id="{DC0B345B-A8EC-4E95-8CAC-E5322CA56717}"/>
              </a:ext>
            </a:extLst>
          </p:cNvPr>
          <p:cNvSpPr/>
          <p:nvPr/>
        </p:nvSpPr>
        <p:spPr bwMode="auto">
          <a:xfrm>
            <a:off x="8941670" y="5154744"/>
            <a:ext cx="2467550" cy="830997"/>
          </a:xfrm>
          <a:prstGeom prst="rect">
            <a:avLst/>
          </a:prstGeom>
          <a:noFill/>
          <a:ln w="19050" algn="ctr">
            <a:noFill/>
            <a:miter lim="800000"/>
            <a:headEnd type="none" w="sm" len="sm"/>
            <a:tailEnd type="none" w="sm" len="sm"/>
          </a:ln>
        </p:spPr>
        <p:txBody>
          <a:bodyPr wrap="square" lIns="0" tIns="0" rIns="0" bIns="0" anchor="ctr">
            <a:spAutoFit/>
          </a:bodyPr>
          <a:lstStyle/>
          <a:p>
            <a:r>
              <a:rPr lang="en-GB" b="1" i="0" dirty="0">
                <a:solidFill>
                  <a:srgbClr val="053881"/>
                </a:solidFill>
                <a:effectLst/>
                <a:latin typeface="Helvetica" panose="020B0604020202020204" pitchFamily="34" charset="0"/>
              </a:rPr>
              <a:t>Become </a:t>
            </a:r>
            <a:r>
              <a:rPr lang="en-GB" b="1" i="0" dirty="0" smtClean="0">
                <a:solidFill>
                  <a:srgbClr val="053881"/>
                </a:solidFill>
                <a:effectLst/>
                <a:latin typeface="Helvetica" panose="020B0604020202020204" pitchFamily="34" charset="0"/>
              </a:rPr>
              <a:t>aware about how innovation is to be handled</a:t>
            </a:r>
            <a:endParaRPr lang="en-US" dirty="0">
              <a:ea typeface="ＭＳ Ｐゴシック" pitchFamily="50" charset="-128"/>
            </a:endParaRPr>
          </a:p>
        </p:txBody>
      </p:sp>
      <p:pic>
        <p:nvPicPr>
          <p:cNvPr id="56" name="Graphic 55">
            <a:extLst>
              <a:ext uri="{FF2B5EF4-FFF2-40B4-BE49-F238E27FC236}">
                <a16:creationId xmlns:a16="http://schemas.microsoft.com/office/drawing/2014/main" id="{131BC2DB-9229-4655-8B8C-67D49AAA6CDF}"/>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4492182" y="2168438"/>
            <a:ext cx="576263" cy="576263"/>
          </a:xfrm>
          <a:prstGeom prst="rect">
            <a:avLst/>
          </a:prstGeom>
        </p:spPr>
      </p:pic>
      <p:pic>
        <p:nvPicPr>
          <p:cNvPr id="58" name="Graphic 57">
            <a:extLst>
              <a:ext uri="{FF2B5EF4-FFF2-40B4-BE49-F238E27FC236}">
                <a16:creationId xmlns:a16="http://schemas.microsoft.com/office/drawing/2014/main" id="{41860908-BE8E-4A49-85FB-ADD183AEA4C7}"/>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8273737" y="2212854"/>
            <a:ext cx="487430" cy="487430"/>
          </a:xfrm>
          <a:prstGeom prst="rect">
            <a:avLst/>
          </a:prstGeom>
        </p:spPr>
      </p:pic>
      <p:pic>
        <p:nvPicPr>
          <p:cNvPr id="59" name="Graphic 58">
            <a:extLst>
              <a:ext uri="{FF2B5EF4-FFF2-40B4-BE49-F238E27FC236}">
                <a16:creationId xmlns:a16="http://schemas.microsoft.com/office/drawing/2014/main" id="{7BC038B5-E60A-43A1-B657-9CE267F41E1E}"/>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xmlns="" r:embed="rId15"/>
              </a:ext>
            </a:extLst>
          </a:blip>
          <a:stretch>
            <a:fillRect/>
          </a:stretch>
        </p:blipFill>
        <p:spPr>
          <a:xfrm>
            <a:off x="8216558" y="3746630"/>
            <a:ext cx="533551" cy="533551"/>
          </a:xfrm>
          <a:prstGeom prst="rect">
            <a:avLst/>
          </a:prstGeom>
        </p:spPr>
      </p:pic>
      <p:pic>
        <p:nvPicPr>
          <p:cNvPr id="14" name="Graphic 13">
            <a:extLst>
              <a:ext uri="{FF2B5EF4-FFF2-40B4-BE49-F238E27FC236}">
                <a16:creationId xmlns:a16="http://schemas.microsoft.com/office/drawing/2014/main" id="{22DF7327-2363-435F-9ED6-4AA3ECBBA1A1}"/>
              </a:ext>
            </a:extLst>
          </p:cNvPr>
          <p:cNvPicPr>
            <a:picLocks noChangeAspect="1"/>
          </p:cNvPicPr>
          <p:nvPr/>
        </p:nvPicPr>
        <p:blipFill>
          <a:blip r:embed="rId16">
            <a:extLst>
              <a:ext uri="{96DAC541-7B7A-43D3-8B79-37D633B846F1}">
                <asvg:svgBlip xmlns:asvg="http://schemas.microsoft.com/office/drawing/2016/SVG/main" xmlns="" r:embed="rId17"/>
              </a:ext>
            </a:extLst>
          </a:blip>
          <a:stretch>
            <a:fillRect/>
          </a:stretch>
        </p:blipFill>
        <p:spPr>
          <a:xfrm>
            <a:off x="4468090" y="5255693"/>
            <a:ext cx="629096" cy="629096"/>
          </a:xfrm>
          <a:prstGeom prst="rect">
            <a:avLst/>
          </a:prstGeom>
        </p:spPr>
      </p:pic>
      <p:pic>
        <p:nvPicPr>
          <p:cNvPr id="16" name="Graphic 15">
            <a:extLst>
              <a:ext uri="{FF2B5EF4-FFF2-40B4-BE49-F238E27FC236}">
                <a16:creationId xmlns:a16="http://schemas.microsoft.com/office/drawing/2014/main" id="{42781B27-3287-4138-99C2-2F0435F1E5A4}"/>
              </a:ext>
            </a:extLst>
          </p:cNvPr>
          <p:cNvPicPr>
            <a:picLocks noChangeAspect="1"/>
          </p:cNvPicPr>
          <p:nvPr/>
        </p:nvPicPr>
        <p:blipFill>
          <a:blip r:embed="rId18">
            <a:extLst>
              <a:ext uri="{96DAC541-7B7A-43D3-8B79-37D633B846F1}">
                <asvg:svgBlip xmlns:asvg="http://schemas.microsoft.com/office/drawing/2016/SVG/main" xmlns="" r:embed="rId19"/>
              </a:ext>
            </a:extLst>
          </a:blip>
          <a:stretch>
            <a:fillRect/>
          </a:stretch>
        </p:blipFill>
        <p:spPr>
          <a:xfrm>
            <a:off x="8223806" y="5276595"/>
            <a:ext cx="587292" cy="587292"/>
          </a:xfrm>
          <a:prstGeom prst="rect">
            <a:avLst/>
          </a:prstGeom>
        </p:spPr>
      </p:pic>
      <p:pic>
        <p:nvPicPr>
          <p:cNvPr id="20" name="Graphic 19">
            <a:extLst>
              <a:ext uri="{FF2B5EF4-FFF2-40B4-BE49-F238E27FC236}">
                <a16:creationId xmlns:a16="http://schemas.microsoft.com/office/drawing/2014/main" id="{1E455E94-A30D-4595-BFA4-855752AE351A}"/>
              </a:ext>
            </a:extLst>
          </p:cNvPr>
          <p:cNvPicPr>
            <a:picLocks noChangeAspect="1"/>
          </p:cNvPicPr>
          <p:nvPr/>
        </p:nvPicPr>
        <p:blipFill>
          <a:blip r:embed="rId20">
            <a:extLst>
              <a:ext uri="{96DAC541-7B7A-43D3-8B79-37D633B846F1}">
                <asvg:svgBlip xmlns:asvg="http://schemas.microsoft.com/office/drawing/2016/SVG/main" xmlns="" r:embed="rId21"/>
              </a:ext>
            </a:extLst>
          </a:blip>
          <a:stretch>
            <a:fillRect/>
          </a:stretch>
        </p:blipFill>
        <p:spPr>
          <a:xfrm>
            <a:off x="820882" y="5343654"/>
            <a:ext cx="453174" cy="453174"/>
          </a:xfrm>
          <a:prstGeom prst="rect">
            <a:avLst/>
          </a:prstGeom>
        </p:spPr>
      </p:pic>
      <p:sp>
        <p:nvSpPr>
          <p:cNvPr id="5" name="Rounded Rectangle 5">
            <a:extLst>
              <a:ext uri="{FF2B5EF4-FFF2-40B4-BE49-F238E27FC236}">
                <a16:creationId xmlns:a16="http://schemas.microsoft.com/office/drawing/2014/main" id="{EDA73FF4-2B75-2B48-884E-4130B509A68A}"/>
              </a:ext>
            </a:extLst>
          </p:cNvPr>
          <p:cNvSpPr/>
          <p:nvPr/>
        </p:nvSpPr>
        <p:spPr bwMode="auto">
          <a:xfrm>
            <a:off x="5206138" y="3736407"/>
            <a:ext cx="2467550" cy="553998"/>
          </a:xfrm>
          <a:prstGeom prst="rect">
            <a:avLst/>
          </a:prstGeom>
          <a:noFill/>
          <a:ln w="19050" algn="ctr">
            <a:noFill/>
            <a:miter lim="800000"/>
            <a:headEnd type="none" w="sm" len="sm"/>
            <a:tailEnd type="none" w="sm" len="sm"/>
          </a:ln>
        </p:spPr>
        <p:txBody>
          <a:bodyPr wrap="square" lIns="0" tIns="0" rIns="0" bIns="0" anchor="ctr">
            <a:spAutoFit/>
          </a:bodyPr>
          <a:lstStyle/>
          <a:p>
            <a:r>
              <a:rPr lang="en-GB" b="1" i="0" dirty="0" smtClean="0">
                <a:solidFill>
                  <a:srgbClr val="053881"/>
                </a:solidFill>
                <a:effectLst/>
                <a:latin typeface="Helvetica" panose="020B0604020202020204" pitchFamily="34" charset="0"/>
              </a:rPr>
              <a:t>You Don't </a:t>
            </a:r>
            <a:r>
              <a:rPr lang="en-GB" b="1" i="0" dirty="0">
                <a:solidFill>
                  <a:srgbClr val="053881"/>
                </a:solidFill>
                <a:effectLst/>
                <a:latin typeface="Helvetica" panose="020B0604020202020204" pitchFamily="34" charset="0"/>
              </a:rPr>
              <a:t>reinvent the wheel. </a:t>
            </a:r>
            <a:endParaRPr lang="en-US" dirty="0">
              <a:ea typeface="ＭＳ Ｐゴシック" pitchFamily="50" charset="-128"/>
            </a:endParaRPr>
          </a:p>
        </p:txBody>
      </p:sp>
      <p:pic>
        <p:nvPicPr>
          <p:cNvPr id="11" name="Graphic 10" descr="Stopwatch 66% outline">
            <a:extLst>
              <a:ext uri="{FF2B5EF4-FFF2-40B4-BE49-F238E27FC236}">
                <a16:creationId xmlns:a16="http://schemas.microsoft.com/office/drawing/2014/main" id="{E8463B65-62CD-B971-73FE-9B07ECD3C802}"/>
              </a:ext>
            </a:extLst>
          </p:cNvPr>
          <p:cNvPicPr>
            <a:picLocks noChangeAspect="1"/>
          </p:cNvPicPr>
          <p:nvPr/>
        </p:nvPicPr>
        <p:blipFill>
          <a:blip r:embed="rId22">
            <a:extLst>
              <a:ext uri="{96DAC541-7B7A-43D3-8B79-37D633B846F1}">
                <asvg:svgBlip xmlns:asvg="http://schemas.microsoft.com/office/drawing/2016/SVG/main" xmlns="" r:embed="rId23"/>
              </a:ext>
            </a:extLst>
          </a:blip>
          <a:stretch>
            <a:fillRect/>
          </a:stretch>
        </p:blipFill>
        <p:spPr>
          <a:xfrm>
            <a:off x="731239" y="3575144"/>
            <a:ext cx="739367" cy="739367"/>
          </a:xfrm>
          <a:prstGeom prst="rect">
            <a:avLst/>
          </a:prstGeom>
        </p:spPr>
      </p:pic>
      <p:pic>
        <p:nvPicPr>
          <p:cNvPr id="13" name="Graphic 12" descr="Steering Wheel outline">
            <a:extLst>
              <a:ext uri="{FF2B5EF4-FFF2-40B4-BE49-F238E27FC236}">
                <a16:creationId xmlns:a16="http://schemas.microsoft.com/office/drawing/2014/main" id="{AD40B5E2-343D-B45B-F379-B6A2CF6F2F26}"/>
              </a:ext>
            </a:extLst>
          </p:cNvPr>
          <p:cNvPicPr>
            <a:picLocks noChangeAspect="1"/>
          </p:cNvPicPr>
          <p:nvPr/>
        </p:nvPicPr>
        <p:blipFill>
          <a:blip r:embed="rId24">
            <a:extLst>
              <a:ext uri="{96DAC541-7B7A-43D3-8B79-37D633B846F1}">
                <asvg:svgBlip xmlns:asvg="http://schemas.microsoft.com/office/drawing/2016/SVG/main" xmlns="" r:embed="rId25"/>
              </a:ext>
            </a:extLst>
          </a:blip>
          <a:stretch>
            <a:fillRect/>
          </a:stretch>
        </p:blipFill>
        <p:spPr>
          <a:xfrm>
            <a:off x="4465460" y="3644073"/>
            <a:ext cx="728441" cy="728441"/>
          </a:xfrm>
          <a:prstGeom prst="rect">
            <a:avLst/>
          </a:prstGeom>
        </p:spPr>
      </p:pic>
    </p:spTree>
    <p:extLst>
      <p:ext uri="{BB962C8B-B14F-4D97-AF65-F5344CB8AC3E}">
        <p14:creationId xmlns:p14="http://schemas.microsoft.com/office/powerpoint/2010/main" val="7254024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ANK YOU!</a:t>
            </a:r>
            <a:endParaRPr lang="en-US" dirty="0"/>
          </a:p>
        </p:txBody>
      </p:sp>
      <p:sp>
        <p:nvSpPr>
          <p:cNvPr id="4" name="Slide Number Placeholder 3"/>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spTree>
    <p:extLst>
      <p:ext uri="{BB962C8B-B14F-4D97-AF65-F5344CB8AC3E}">
        <p14:creationId xmlns:p14="http://schemas.microsoft.com/office/powerpoint/2010/main" val="23424137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SoXP1LSJmKysQgoJBj3Qh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JUH_xXmEzv2_WM4PaUPu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79bA2qzL_OI5CL_ti06G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R6aM223bIQD9wUkDKex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aRfShUQN8FTtAcrfF62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vRMdNNrHr.Fz6OlAn.Y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Y7i94FaZZ9FSlDn.04Kz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7_1v.nYhFFi2BwYyULJ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ZwReGEvdtA3.xm0sCkt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ZNPk81ErqvxUDanQSKA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9TWRIS3ZY61o6K1QciU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bjKafwDCz_uITgUxTl_0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zj1QEDEsmIAqRe7J7vv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9qVvqDrREqN3Yla8_WSb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obUodDbSucibtR54OvZ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RhC6_kDFXJyN_hOBaRM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gex4lEZb51ZHDV6yZ5n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vzsSmMf1Ire38WgrFfD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ZUOp_ddDihdvoojH6YB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lB9PmGrFh5dR8FgxnrX9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9V2KKbjTL1mzGbs8rjjo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SM08TMrFoN9ALYrdVy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5jvStlLRMV8mpM3YOc0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X3qomJi.K3U9oEXE7OFa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UO9SlSwOJBNSQq.CSP4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2sQ5WF.vJ9It7PHwATp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ze0Gf_bimlPNzimQizj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E3LID6yL11qrCsKc08P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9pS5c_u2rcscH0p4y0Y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JCGo3lxPmK8flqAW0bY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SCeUDcePKgj0xqcnmv_p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MKida.MS5kMGRUFsWFZ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wGsCkNkRhuL49EEhsih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P0ZvYtoH25toepY54m.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3">
  <a:themeElements>
    <a:clrScheme name="Custom 1">
      <a:dk1>
        <a:srgbClr val="FFFFFF"/>
      </a:dk1>
      <a:lt1>
        <a:srgbClr val="002060"/>
      </a:lt1>
      <a:dk2>
        <a:srgbClr val="002060"/>
      </a:dk2>
      <a:lt2>
        <a:srgbClr val="002060"/>
      </a:lt2>
      <a:accent1>
        <a:srgbClr val="002060"/>
      </a:accent1>
      <a:accent2>
        <a:srgbClr val="00B0F0"/>
      </a:accent2>
      <a:accent3>
        <a:srgbClr val="00B050"/>
      </a:accent3>
      <a:accent4>
        <a:srgbClr val="92D050"/>
      </a:accent4>
      <a:accent5>
        <a:srgbClr val="FFC000"/>
      </a:accent5>
      <a:accent6>
        <a:srgbClr val="FF000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16. Design Thinking Toolkit - Overview and Approach.pptx" id="{FDB5D224-FA1D-4E68-9A86-295D1A1E3C03}" vid="{3D28E9A7-78AB-4828-B5D8-0C11697C1AA0}"/>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3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6. Design Thinking Toolkit - Overview and Approach.pptx" id="{FDB5D224-FA1D-4E68-9A86-295D1A1E3C03}" vid="{FD54125E-57C9-4790-A828-4343F3FF56E6}"/>
    </a:ext>
  </a:extLst>
</a:theme>
</file>

<file path=ppt/theme/theme3.xml><?xml version="1.0" encoding="utf-8"?>
<a:theme xmlns:a="http://schemas.openxmlformats.org/drawingml/2006/main" name="34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6. Design Thinking Toolkit - Overview and Approach.pptx" id="{FDB5D224-FA1D-4E68-9A86-295D1A1E3C03}" vid="{CF23A3E3-F013-474F-BBB9-B24D9B38B774}"/>
    </a:ext>
  </a:extLst>
</a:theme>
</file>

<file path=ppt/theme/theme4.xml><?xml version="1.0" encoding="utf-8"?>
<a:theme xmlns:a="http://schemas.openxmlformats.org/drawingml/2006/main" name="35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6. Design Thinking Toolkit - Overview and Approach.pptx" id="{FDB5D224-FA1D-4E68-9A86-295D1A1E3C03}" vid="{C29ADA61-D3AA-4B26-A86D-372134CF2415}"/>
    </a:ext>
  </a:extLst>
</a:theme>
</file>

<file path=ppt/theme/theme5.xml><?xml version="1.0" encoding="utf-8"?>
<a:theme xmlns:a="http://schemas.openxmlformats.org/drawingml/2006/main" name="36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6. Design Thinking Toolkit - Overview and Approach.pptx" id="{FDB5D224-FA1D-4E68-9A86-295D1A1E3C03}" vid="{AF78029A-E1B7-439A-8E2D-BADACC60CC83}"/>
    </a:ext>
  </a:extLst>
</a:theme>
</file>

<file path=ppt/theme/theme6.xml><?xml version="1.0" encoding="utf-8"?>
<a:theme xmlns:a="http://schemas.openxmlformats.org/drawingml/2006/main" name="37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6. Design Thinking Toolkit - Overview and Approach.pptx" id="{FDB5D224-FA1D-4E68-9A86-295D1A1E3C03}" vid="{286C14C1-4319-425C-8D4B-7E536E3288B0}"/>
    </a:ext>
  </a:extLst>
</a:theme>
</file>

<file path=ppt/theme/theme7.xml><?xml version="1.0" encoding="utf-8"?>
<a:theme xmlns:a="http://schemas.openxmlformats.org/drawingml/2006/main" name="38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6. Design Thinking Toolkit - Overview and Approach.pptx" id="{FDB5D224-FA1D-4E68-9A86-295D1A1E3C03}" vid="{D654CA20-7BB9-4E01-B1B4-33F1F218C946}"/>
    </a:ext>
  </a:extLst>
</a:theme>
</file>

<file path=ppt/theme/theme8.xml><?xml version="1.0" encoding="utf-8"?>
<a:theme xmlns:a="http://schemas.openxmlformats.org/drawingml/2006/main" name="39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6. Design Thinking Toolkit - Overview and Approach.pptx" id="{FDB5D224-FA1D-4E68-9A86-295D1A1E3C03}" vid="{88881D8E-B00F-487D-83E2-959ABD580F8A}"/>
    </a:ext>
  </a:extLst>
</a:theme>
</file>

<file path=ppt/theme/theme9.xml><?xml version="1.0" encoding="utf-8"?>
<a:theme xmlns:a="http://schemas.openxmlformats.org/drawingml/2006/main" name="40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6. Design Thinking Toolkit - Overview and Approach.pptx" id="{FDB5D224-FA1D-4E68-9A86-295D1A1E3C03}" vid="{C14BA7AC-B086-405E-848A-95166E2D6D8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0072C5-DDE0-4258-BA7A-4D4B80DFA632}">
  <ds:schemaRefs>
    <ds:schemaRef ds:uri="http://purl.org/dc/elements/1.1/"/>
    <ds:schemaRef ds:uri="16c05727-aa75-4e4a-9b5f-8a80a1165891"/>
    <ds:schemaRef ds:uri="http://www.w3.org/XML/1998/namespace"/>
    <ds:schemaRef ds:uri="http://schemas.microsoft.com/office/infopath/2007/PartnerControls"/>
    <ds:schemaRef ds:uri="http://purl.org/dc/terms/"/>
    <ds:schemaRef ds:uri="http://schemas.microsoft.com/office/2006/metadata/properties"/>
    <ds:schemaRef ds:uri="http://schemas.microsoft.com/office/2006/documentManagement/types"/>
    <ds:schemaRef ds:uri="http://schemas.openxmlformats.org/package/2006/metadata/core-properties"/>
    <ds:schemaRef ds:uri="71af3243-3dd4-4a8d-8c0d-dd76da1f02a5"/>
    <ds:schemaRef ds:uri="http://purl.org/dc/dcmitype/"/>
  </ds:schemaRefs>
</ds:datastoreItem>
</file>

<file path=customXml/itemProps2.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3.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45</Words>
  <Application>Microsoft Office PowerPoint</Application>
  <PresentationFormat>Widescreen</PresentationFormat>
  <Paragraphs>29</Paragraphs>
  <Slides>6</Slides>
  <Notes>1</Notes>
  <HiddenSlides>0</HiddenSlides>
  <MMClips>0</MMClips>
  <ScaleCrop>false</ScaleCrop>
  <HeadingPairs>
    <vt:vector size="8" baseType="variant">
      <vt:variant>
        <vt:lpstr>Fonts Used</vt:lpstr>
      </vt:variant>
      <vt:variant>
        <vt:i4>4</vt:i4>
      </vt:variant>
      <vt:variant>
        <vt:lpstr>Theme</vt:lpstr>
      </vt:variant>
      <vt:variant>
        <vt:i4>9</vt:i4>
      </vt:variant>
      <vt:variant>
        <vt:lpstr>Embedded OLE Servers</vt:lpstr>
      </vt:variant>
      <vt:variant>
        <vt:i4>1</vt:i4>
      </vt:variant>
      <vt:variant>
        <vt:lpstr>Slide Titles</vt:lpstr>
      </vt:variant>
      <vt:variant>
        <vt:i4>6</vt:i4>
      </vt:variant>
    </vt:vector>
  </HeadingPairs>
  <TitlesOfParts>
    <vt:vector size="20" baseType="lpstr">
      <vt:lpstr>ＭＳ Ｐゴシック</vt:lpstr>
      <vt:lpstr>Arial</vt:lpstr>
      <vt:lpstr>Calibri</vt:lpstr>
      <vt:lpstr>Helvetica</vt:lpstr>
      <vt:lpstr>Theme3</vt:lpstr>
      <vt:lpstr>33_Custom Design</vt:lpstr>
      <vt:lpstr>34_Custom Design</vt:lpstr>
      <vt:lpstr>35_Custom Design</vt:lpstr>
      <vt:lpstr>36_Custom Design</vt:lpstr>
      <vt:lpstr>37_Custom Design</vt:lpstr>
      <vt:lpstr>38_Custom Design</vt:lpstr>
      <vt:lpstr>39_Custom Design</vt:lpstr>
      <vt:lpstr>40_Custom Design</vt:lpstr>
      <vt:lpstr>think-cell Slide</vt:lpstr>
      <vt:lpstr>The importance of students in Innovations</vt:lpstr>
      <vt:lpstr>PowerPoint Presentation</vt:lpstr>
      <vt:lpstr>Stories</vt:lpstr>
      <vt:lpstr>Stories</vt:lpstr>
      <vt:lpstr>Key Benefits (I can imagine) </vt:lpstr>
      <vt:lpstr>THANK YOU!</vt:lpstr>
    </vt:vector>
  </TitlesOfParts>
  <Manager>Pradeep Ghosh</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national Coperations</dc:title>
  <dc:subject>Erasmsu+</dc:subject>
  <dc:creator>Ghosh, Pradeep Dr.</dc:creator>
  <cp:keywords>ICO</cp:keywords>
  <cp:lastModifiedBy>Ghosh, Pradeep Dr.</cp:lastModifiedBy>
  <cp:revision>454</cp:revision>
  <dcterms:created xsi:type="dcterms:W3CDTF">2020-07-08T04:44:55Z</dcterms:created>
  <dcterms:modified xsi:type="dcterms:W3CDTF">2023-10-06T13:02:58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